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8.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9.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678" r:id="rId5"/>
    <p:sldMasterId id="2147483686" r:id="rId6"/>
    <p:sldMasterId id="2147483696" r:id="rId7"/>
    <p:sldMasterId id="2147483704" r:id="rId8"/>
    <p:sldMasterId id="2147483714" r:id="rId9"/>
    <p:sldMasterId id="2147483723" r:id="rId10"/>
    <p:sldMasterId id="2147483742" r:id="rId11"/>
    <p:sldMasterId id="2147483758" r:id="rId12"/>
    <p:sldMasterId id="2147483750" r:id="rId13"/>
  </p:sldMasterIdLst>
  <p:notesMasterIdLst>
    <p:notesMasterId r:id="rId15"/>
  </p:notesMasterIdLst>
  <p:sldIdLst>
    <p:sldId id="442" r:id="rId14"/>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DA7C01-E5C2-4FFD-BFE8-DC242291889E}" v="3" dt="2021-02-09T00:47:59.700"/>
    <p1510:client id="{A6C1BD66-BAE7-AEB0-452F-58F0EC757962}" v="4" dt="2020-06-18T14:54:25.9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1074" y="8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C4CF2A6C-0AB8-4740-A235-E87168F10969}" type="datetimeFigureOut">
              <a:rPr lang="en-US" smtClean="0"/>
              <a:t>2/26/2021</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B7D81FF1-98EC-4D74-8988-A54AA84AB741}" type="slidenum">
              <a:rPr lang="en-US" smtClean="0"/>
              <a:t>‹#›</a:t>
            </a:fld>
            <a:endParaRPr lang="en-US"/>
          </a:p>
        </p:txBody>
      </p:sp>
    </p:spTree>
    <p:extLst>
      <p:ext uri="{BB962C8B-B14F-4D97-AF65-F5344CB8AC3E}">
        <p14:creationId xmlns:p14="http://schemas.microsoft.com/office/powerpoint/2010/main" val="1557146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vider Slide">
    <p:spTree>
      <p:nvGrpSpPr>
        <p:cNvPr id="1" name=""/>
        <p:cNvGrpSpPr/>
        <p:nvPr/>
      </p:nvGrpSpPr>
      <p:grpSpPr>
        <a:xfrm>
          <a:off x="0" y="0"/>
          <a:ext cx="0" cy="0"/>
          <a:chOff x="0" y="0"/>
          <a:chExt cx="0" cy="0"/>
        </a:xfrm>
      </p:grpSpPr>
      <p:grpSp>
        <p:nvGrpSpPr>
          <p:cNvPr id="4" name="Group 55"/>
          <p:cNvGrpSpPr>
            <a:grpSpLocks/>
          </p:cNvGrpSpPr>
          <p:nvPr/>
        </p:nvGrpSpPr>
        <p:grpSpPr bwMode="auto">
          <a:xfrm>
            <a:off x="457221" y="2362200"/>
            <a:ext cx="817563" cy="838200"/>
            <a:chOff x="18142" y="955"/>
            <a:chExt cx="2084" cy="2140"/>
          </a:xfrm>
        </p:grpSpPr>
        <p:sp>
          <p:nvSpPr>
            <p:cNvPr id="5" name="Rectangle 56"/>
            <p:cNvSpPr>
              <a:spLocks noChangeArrowheads="1"/>
            </p:cNvSpPr>
            <p:nvPr/>
          </p:nvSpPr>
          <p:spPr bwMode="auto">
            <a:xfrm>
              <a:off x="18142" y="955"/>
              <a:ext cx="1870"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6" name="Freeform 57"/>
            <p:cNvSpPr>
              <a:spLocks/>
            </p:cNvSpPr>
            <p:nvPr/>
          </p:nvSpPr>
          <p:spPr bwMode="auto">
            <a:xfrm>
              <a:off x="19101" y="2390"/>
              <a:ext cx="397" cy="620"/>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7" name="Freeform 58"/>
            <p:cNvSpPr>
              <a:spLocks/>
            </p:cNvSpPr>
            <p:nvPr/>
          </p:nvSpPr>
          <p:spPr bwMode="auto">
            <a:xfrm>
              <a:off x="19222" y="2738"/>
              <a:ext cx="166" cy="170"/>
            </a:xfrm>
            <a:custGeom>
              <a:avLst/>
              <a:gdLst>
                <a:gd name="T0" fmla="*/ 0 w 336"/>
                <a:gd name="T1" fmla="*/ 0 h 343"/>
                <a:gd name="T2" fmla="*/ 0 w 336"/>
                <a:gd name="T3" fmla="*/ 0 h 343"/>
                <a:gd name="T4" fmla="*/ 0 w 336"/>
                <a:gd name="T5" fmla="*/ 0 h 343"/>
                <a:gd name="T6" fmla="*/ 0 w 336"/>
                <a:gd name="T7" fmla="*/ 0 h 343"/>
                <a:gd name="T8" fmla="*/ 0 w 336"/>
                <a:gd name="T9" fmla="*/ 0 h 343"/>
                <a:gd name="T10" fmla="*/ 0 w 336"/>
                <a:gd name="T11" fmla="*/ 0 h 343"/>
                <a:gd name="T12" fmla="*/ 0 w 336"/>
                <a:gd name="T13" fmla="*/ 0 h 343"/>
                <a:gd name="T14" fmla="*/ 0 w 336"/>
                <a:gd name="T15" fmla="*/ 0 h 343"/>
                <a:gd name="T16" fmla="*/ 0 w 336"/>
                <a:gd name="T17" fmla="*/ 0 h 343"/>
                <a:gd name="T18" fmla="*/ 0 w 336"/>
                <a:gd name="T19" fmla="*/ 0 h 343"/>
                <a:gd name="T20" fmla="*/ 0 w 336"/>
                <a:gd name="T21" fmla="*/ 0 h 343"/>
                <a:gd name="T22" fmla="*/ 0 w 336"/>
                <a:gd name="T23" fmla="*/ 0 h 343"/>
                <a:gd name="T24" fmla="*/ 0 w 336"/>
                <a:gd name="T25" fmla="*/ 0 h 343"/>
                <a:gd name="T26" fmla="*/ 0 w 336"/>
                <a:gd name="T27" fmla="*/ 0 h 343"/>
                <a:gd name="T28" fmla="*/ 0 w 336"/>
                <a:gd name="T29" fmla="*/ 0 h 343"/>
                <a:gd name="T30" fmla="*/ 0 w 336"/>
                <a:gd name="T31" fmla="*/ 0 h 343"/>
                <a:gd name="T32" fmla="*/ 0 w 336"/>
                <a:gd name="T33" fmla="*/ 0 h 343"/>
                <a:gd name="T34" fmla="*/ 0 w 336"/>
                <a:gd name="T35" fmla="*/ 0 h 343"/>
                <a:gd name="T36" fmla="*/ 0 w 336"/>
                <a:gd name="T37" fmla="*/ 0 h 343"/>
                <a:gd name="T38" fmla="*/ 0 w 336"/>
                <a:gd name="T39" fmla="*/ 0 h 343"/>
                <a:gd name="T40" fmla="*/ 0 w 336"/>
                <a:gd name="T41" fmla="*/ 0 h 343"/>
                <a:gd name="T42" fmla="*/ 0 w 336"/>
                <a:gd name="T43" fmla="*/ 0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8" name="Freeform 59"/>
            <p:cNvSpPr>
              <a:spLocks/>
            </p:cNvSpPr>
            <p:nvPr/>
          </p:nvSpPr>
          <p:spPr bwMode="auto">
            <a:xfrm>
              <a:off x="19538" y="1036"/>
              <a:ext cx="393" cy="1982"/>
            </a:xfrm>
            <a:custGeom>
              <a:avLst/>
              <a:gdLst>
                <a:gd name="T0" fmla="*/ 0 w 785"/>
                <a:gd name="T1" fmla="*/ 0 h 3959"/>
                <a:gd name="T2" fmla="*/ 0 w 785"/>
                <a:gd name="T3" fmla="*/ 1 h 3959"/>
                <a:gd name="T4" fmla="*/ 1 w 785"/>
                <a:gd name="T5" fmla="*/ 1 h 3959"/>
                <a:gd name="T6" fmla="*/ 1 w 785"/>
                <a:gd name="T7" fmla="*/ 1 h 3959"/>
                <a:gd name="T8" fmla="*/ 1 w 785"/>
                <a:gd name="T9" fmla="*/ 1 h 3959"/>
                <a:gd name="T10" fmla="*/ 1 w 785"/>
                <a:gd name="T11" fmla="*/ 1 h 3959"/>
                <a:gd name="T12" fmla="*/ 1 w 785"/>
                <a:gd name="T13" fmla="*/ 1 h 3959"/>
                <a:gd name="T14" fmla="*/ 1 w 785"/>
                <a:gd name="T15" fmla="*/ 1 h 3959"/>
                <a:gd name="T16" fmla="*/ 1 w 785"/>
                <a:gd name="T17" fmla="*/ 1 h 3959"/>
                <a:gd name="T18" fmla="*/ 1 w 785"/>
                <a:gd name="T19" fmla="*/ 1 h 3959"/>
                <a:gd name="T20" fmla="*/ 1 w 785"/>
                <a:gd name="T21" fmla="*/ 1 h 3959"/>
                <a:gd name="T22" fmla="*/ 1 w 785"/>
                <a:gd name="T23" fmla="*/ 1 h 3959"/>
                <a:gd name="T24" fmla="*/ 1 w 785"/>
                <a:gd name="T25" fmla="*/ 1 h 3959"/>
                <a:gd name="T26" fmla="*/ 1 w 785"/>
                <a:gd name="T27" fmla="*/ 1 h 3959"/>
                <a:gd name="T28" fmla="*/ 1 w 785"/>
                <a:gd name="T29" fmla="*/ 1 h 3959"/>
                <a:gd name="T30" fmla="*/ 1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9" name="Freeform 60"/>
            <p:cNvSpPr>
              <a:spLocks/>
            </p:cNvSpPr>
            <p:nvPr/>
          </p:nvSpPr>
          <p:spPr bwMode="auto">
            <a:xfrm>
              <a:off x="18421" y="2398"/>
              <a:ext cx="77" cy="219"/>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1 w 152"/>
                <a:gd name="T17" fmla="*/ 1 h 435"/>
                <a:gd name="T18" fmla="*/ 1 w 152"/>
                <a:gd name="T19" fmla="*/ 1 h 435"/>
                <a:gd name="T20" fmla="*/ 1 w 152"/>
                <a:gd name="T21" fmla="*/ 1 h 435"/>
                <a:gd name="T22" fmla="*/ 1 w 152"/>
                <a:gd name="T23" fmla="*/ 1 h 435"/>
                <a:gd name="T24" fmla="*/ 1 w 152"/>
                <a:gd name="T25" fmla="*/ 1 h 435"/>
                <a:gd name="T26" fmla="*/ 1 w 152"/>
                <a:gd name="T27" fmla="*/ 1 h 435"/>
                <a:gd name="T28" fmla="*/ 1 w 152"/>
                <a:gd name="T29" fmla="*/ 1 h 435"/>
                <a:gd name="T30" fmla="*/ 1 w 152"/>
                <a:gd name="T31" fmla="*/ 1 h 435"/>
                <a:gd name="T32" fmla="*/ 1 w 152"/>
                <a:gd name="T33" fmla="*/ 1 h 435"/>
                <a:gd name="T34" fmla="*/ 1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 name="Freeform 61"/>
            <p:cNvSpPr>
              <a:spLocks/>
            </p:cNvSpPr>
            <p:nvPr/>
          </p:nvSpPr>
          <p:spPr bwMode="auto">
            <a:xfrm>
              <a:off x="18223" y="1036"/>
              <a:ext cx="1307" cy="1982"/>
            </a:xfrm>
            <a:custGeom>
              <a:avLst/>
              <a:gdLst>
                <a:gd name="T0" fmla="*/ 0 w 2616"/>
                <a:gd name="T1" fmla="*/ 0 h 3962"/>
                <a:gd name="T2" fmla="*/ 0 w 2616"/>
                <a:gd name="T3" fmla="*/ 1 h 3962"/>
                <a:gd name="T4" fmla="*/ 0 w 2616"/>
                <a:gd name="T5" fmla="*/ 1 h 3962"/>
                <a:gd name="T6" fmla="*/ 0 w 2616"/>
                <a:gd name="T7" fmla="*/ 1 h 3962"/>
                <a:gd name="T8" fmla="*/ 0 w 2616"/>
                <a:gd name="T9" fmla="*/ 1 h 3962"/>
                <a:gd name="T10" fmla="*/ 0 w 2616"/>
                <a:gd name="T11" fmla="*/ 1 h 3962"/>
                <a:gd name="T12" fmla="*/ 0 w 2616"/>
                <a:gd name="T13" fmla="*/ 1 h 3962"/>
                <a:gd name="T14" fmla="*/ 0 w 2616"/>
                <a:gd name="T15" fmla="*/ 1 h 3962"/>
                <a:gd name="T16" fmla="*/ 0 w 2616"/>
                <a:gd name="T17" fmla="*/ 1 h 3962"/>
                <a:gd name="T18" fmla="*/ 0 w 2616"/>
                <a:gd name="T19" fmla="*/ 1 h 3962"/>
                <a:gd name="T20" fmla="*/ 0 w 2616"/>
                <a:gd name="T21" fmla="*/ 1 h 3962"/>
                <a:gd name="T22" fmla="*/ 0 w 2616"/>
                <a:gd name="T23" fmla="*/ 1 h 3962"/>
                <a:gd name="T24" fmla="*/ 0 w 2616"/>
                <a:gd name="T25" fmla="*/ 1 h 3962"/>
                <a:gd name="T26" fmla="*/ 0 w 2616"/>
                <a:gd name="T27" fmla="*/ 1 h 3962"/>
                <a:gd name="T28" fmla="*/ 0 w 2616"/>
                <a:gd name="T29" fmla="*/ 1 h 3962"/>
                <a:gd name="T30" fmla="*/ 0 w 2616"/>
                <a:gd name="T31" fmla="*/ 1 h 3962"/>
                <a:gd name="T32" fmla="*/ 0 w 2616"/>
                <a:gd name="T33" fmla="*/ 1 h 3962"/>
                <a:gd name="T34" fmla="*/ 0 w 2616"/>
                <a:gd name="T35" fmla="*/ 1 h 3962"/>
                <a:gd name="T36" fmla="*/ 0 w 2616"/>
                <a:gd name="T37" fmla="*/ 1 h 3962"/>
                <a:gd name="T38" fmla="*/ 0 w 2616"/>
                <a:gd name="T39" fmla="*/ 1 h 3962"/>
                <a:gd name="T40" fmla="*/ 0 w 2616"/>
                <a:gd name="T41" fmla="*/ 1 h 3962"/>
                <a:gd name="T42" fmla="*/ 0 w 2616"/>
                <a:gd name="T43" fmla="*/ 1 h 3962"/>
                <a:gd name="T44" fmla="*/ 0 w 2616"/>
                <a:gd name="T45" fmla="*/ 1 h 3962"/>
                <a:gd name="T46" fmla="*/ 0 w 2616"/>
                <a:gd name="T47" fmla="*/ 1 h 3962"/>
                <a:gd name="T48" fmla="*/ 0 w 2616"/>
                <a:gd name="T49" fmla="*/ 1 h 3962"/>
                <a:gd name="T50" fmla="*/ 0 w 2616"/>
                <a:gd name="T51" fmla="*/ 1 h 3962"/>
                <a:gd name="T52" fmla="*/ 0 w 2616"/>
                <a:gd name="T53" fmla="*/ 1 h 3962"/>
                <a:gd name="T54" fmla="*/ 0 w 2616"/>
                <a:gd name="T55" fmla="*/ 1 h 3962"/>
                <a:gd name="T56" fmla="*/ 0 w 2616"/>
                <a:gd name="T57" fmla="*/ 1 h 3962"/>
                <a:gd name="T58" fmla="*/ 0 w 2616"/>
                <a:gd name="T59" fmla="*/ 1 h 3962"/>
                <a:gd name="T60" fmla="*/ 0 w 2616"/>
                <a:gd name="T61" fmla="*/ 1 h 3962"/>
                <a:gd name="T62" fmla="*/ 0 w 2616"/>
                <a:gd name="T63" fmla="*/ 1 h 3962"/>
                <a:gd name="T64" fmla="*/ 0 w 2616"/>
                <a:gd name="T65" fmla="*/ 1 h 3962"/>
                <a:gd name="T66" fmla="*/ 0 w 2616"/>
                <a:gd name="T67" fmla="*/ 1 h 3962"/>
                <a:gd name="T68" fmla="*/ 0 w 2616"/>
                <a:gd name="T69" fmla="*/ 1 h 3962"/>
                <a:gd name="T70" fmla="*/ 0 w 2616"/>
                <a:gd name="T71" fmla="*/ 1 h 3962"/>
                <a:gd name="T72" fmla="*/ 0 w 2616"/>
                <a:gd name="T73" fmla="*/ 1 h 3962"/>
                <a:gd name="T74" fmla="*/ 0 w 2616"/>
                <a:gd name="T75" fmla="*/ 1 h 3962"/>
                <a:gd name="T76" fmla="*/ 0 w 2616"/>
                <a:gd name="T77" fmla="*/ 1 h 3962"/>
                <a:gd name="T78" fmla="*/ 0 w 2616"/>
                <a:gd name="T79" fmla="*/ 1 h 3962"/>
                <a:gd name="T80" fmla="*/ 0 w 2616"/>
                <a:gd name="T81" fmla="*/ 1 h 3962"/>
                <a:gd name="T82" fmla="*/ 0 w 2616"/>
                <a:gd name="T83" fmla="*/ 1 h 3962"/>
                <a:gd name="T84" fmla="*/ 0 w 2616"/>
                <a:gd name="T85" fmla="*/ 1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1" name="Freeform 62"/>
            <p:cNvSpPr>
              <a:spLocks noEditPoints="1"/>
            </p:cNvSpPr>
            <p:nvPr/>
          </p:nvSpPr>
          <p:spPr bwMode="auto">
            <a:xfrm>
              <a:off x="19995" y="1044"/>
              <a:ext cx="231" cy="231"/>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grpSp>
      <p:sp>
        <p:nvSpPr>
          <p:cNvPr id="12" name="Line 2"/>
          <p:cNvSpPr>
            <a:spLocks noChangeShapeType="1"/>
          </p:cNvSpPr>
          <p:nvPr/>
        </p:nvSpPr>
        <p:spPr bwMode="auto">
          <a:xfrm>
            <a:off x="8" y="3429000"/>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3151" name="Rectangle 79"/>
          <p:cNvSpPr>
            <a:spLocks noGrp="1" noChangeArrowheads="1"/>
          </p:cNvSpPr>
          <p:nvPr>
            <p:ph type="subTitle" idx="1"/>
          </p:nvPr>
        </p:nvSpPr>
        <p:spPr>
          <a:xfrm>
            <a:off x="2806700" y="4724400"/>
            <a:ext cx="5867400" cy="762000"/>
          </a:xfrm>
        </p:spPr>
        <p:txBody>
          <a:bodyPr lIns="228174"/>
          <a:lstStyle>
            <a:lvl1pPr algn="r">
              <a:defRPr b="0" cap="all" baseline="0">
                <a:solidFill>
                  <a:srgbClr val="006699"/>
                </a:solidFill>
              </a:defRPr>
            </a:lvl1pPr>
          </a:lstStyle>
          <a:p>
            <a:r>
              <a:rPr lang="en-US"/>
              <a:t>Click to edit Master subtitle style</a:t>
            </a:r>
          </a:p>
        </p:txBody>
      </p:sp>
      <p:sp>
        <p:nvSpPr>
          <p:cNvPr id="3074" name="Rectangle 2"/>
          <p:cNvSpPr>
            <a:spLocks noGrp="1" noChangeArrowheads="1"/>
          </p:cNvSpPr>
          <p:nvPr>
            <p:ph type="ctrTitle"/>
          </p:nvPr>
        </p:nvSpPr>
        <p:spPr>
          <a:xfrm>
            <a:off x="2790833" y="3505202"/>
            <a:ext cx="5895975" cy="1046440"/>
          </a:xfrm>
        </p:spPr>
        <p:txBody>
          <a:bodyPr lIns="228130" bIns="0" anchor="t">
            <a:spAutoFit/>
          </a:bodyPr>
          <a:lstStyle>
            <a:lvl1pPr algn="r">
              <a:defRPr sz="3400">
                <a:solidFill>
                  <a:srgbClr val="006699"/>
                </a:solidFill>
              </a:defRPr>
            </a:lvl1pPr>
          </a:lstStyle>
          <a:p>
            <a:r>
              <a:rPr lang="en-US"/>
              <a:t>Click to edit Master title style</a:t>
            </a:r>
          </a:p>
        </p:txBody>
      </p:sp>
    </p:spTree>
    <p:extLst>
      <p:ext uri="{BB962C8B-B14F-4D97-AF65-F5344CB8AC3E}">
        <p14:creationId xmlns:p14="http://schemas.microsoft.com/office/powerpoint/2010/main" val="1890106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98077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7802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1642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24307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Divider Slide">
    <p:spTree>
      <p:nvGrpSpPr>
        <p:cNvPr id="1" name=""/>
        <p:cNvGrpSpPr/>
        <p:nvPr/>
      </p:nvGrpSpPr>
      <p:grpSpPr>
        <a:xfrm>
          <a:off x="0" y="0"/>
          <a:ext cx="0" cy="0"/>
          <a:chOff x="0" y="0"/>
          <a:chExt cx="0" cy="0"/>
        </a:xfrm>
      </p:grpSpPr>
      <p:grpSp>
        <p:nvGrpSpPr>
          <p:cNvPr id="4" name="Group 55"/>
          <p:cNvGrpSpPr>
            <a:grpSpLocks/>
          </p:cNvGrpSpPr>
          <p:nvPr/>
        </p:nvGrpSpPr>
        <p:grpSpPr bwMode="auto">
          <a:xfrm>
            <a:off x="457221" y="2362200"/>
            <a:ext cx="817563" cy="838200"/>
            <a:chOff x="18142" y="955"/>
            <a:chExt cx="2084" cy="2140"/>
          </a:xfrm>
        </p:grpSpPr>
        <p:sp>
          <p:nvSpPr>
            <p:cNvPr id="5" name="Rectangle 56"/>
            <p:cNvSpPr>
              <a:spLocks noChangeArrowheads="1"/>
            </p:cNvSpPr>
            <p:nvPr/>
          </p:nvSpPr>
          <p:spPr bwMode="auto">
            <a:xfrm>
              <a:off x="18142" y="955"/>
              <a:ext cx="1870"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6" name="Freeform 57"/>
            <p:cNvSpPr>
              <a:spLocks/>
            </p:cNvSpPr>
            <p:nvPr/>
          </p:nvSpPr>
          <p:spPr bwMode="auto">
            <a:xfrm>
              <a:off x="19101" y="2390"/>
              <a:ext cx="397" cy="620"/>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7" name="Freeform 58"/>
            <p:cNvSpPr>
              <a:spLocks/>
            </p:cNvSpPr>
            <p:nvPr/>
          </p:nvSpPr>
          <p:spPr bwMode="auto">
            <a:xfrm>
              <a:off x="19222" y="2738"/>
              <a:ext cx="166" cy="170"/>
            </a:xfrm>
            <a:custGeom>
              <a:avLst/>
              <a:gdLst>
                <a:gd name="T0" fmla="*/ 0 w 336"/>
                <a:gd name="T1" fmla="*/ 0 h 343"/>
                <a:gd name="T2" fmla="*/ 0 w 336"/>
                <a:gd name="T3" fmla="*/ 0 h 343"/>
                <a:gd name="T4" fmla="*/ 0 w 336"/>
                <a:gd name="T5" fmla="*/ 0 h 343"/>
                <a:gd name="T6" fmla="*/ 0 w 336"/>
                <a:gd name="T7" fmla="*/ 0 h 343"/>
                <a:gd name="T8" fmla="*/ 0 w 336"/>
                <a:gd name="T9" fmla="*/ 0 h 343"/>
                <a:gd name="T10" fmla="*/ 0 w 336"/>
                <a:gd name="T11" fmla="*/ 0 h 343"/>
                <a:gd name="T12" fmla="*/ 0 w 336"/>
                <a:gd name="T13" fmla="*/ 0 h 343"/>
                <a:gd name="T14" fmla="*/ 0 w 336"/>
                <a:gd name="T15" fmla="*/ 0 h 343"/>
                <a:gd name="T16" fmla="*/ 0 w 336"/>
                <a:gd name="T17" fmla="*/ 0 h 343"/>
                <a:gd name="T18" fmla="*/ 0 w 336"/>
                <a:gd name="T19" fmla="*/ 0 h 343"/>
                <a:gd name="T20" fmla="*/ 0 w 336"/>
                <a:gd name="T21" fmla="*/ 0 h 343"/>
                <a:gd name="T22" fmla="*/ 0 w 336"/>
                <a:gd name="T23" fmla="*/ 0 h 343"/>
                <a:gd name="T24" fmla="*/ 0 w 336"/>
                <a:gd name="T25" fmla="*/ 0 h 343"/>
                <a:gd name="T26" fmla="*/ 0 w 336"/>
                <a:gd name="T27" fmla="*/ 0 h 343"/>
                <a:gd name="T28" fmla="*/ 0 w 336"/>
                <a:gd name="T29" fmla="*/ 0 h 343"/>
                <a:gd name="T30" fmla="*/ 0 w 336"/>
                <a:gd name="T31" fmla="*/ 0 h 343"/>
                <a:gd name="T32" fmla="*/ 0 w 336"/>
                <a:gd name="T33" fmla="*/ 0 h 343"/>
                <a:gd name="T34" fmla="*/ 0 w 336"/>
                <a:gd name="T35" fmla="*/ 0 h 343"/>
                <a:gd name="T36" fmla="*/ 0 w 336"/>
                <a:gd name="T37" fmla="*/ 0 h 343"/>
                <a:gd name="T38" fmla="*/ 0 w 336"/>
                <a:gd name="T39" fmla="*/ 0 h 343"/>
                <a:gd name="T40" fmla="*/ 0 w 336"/>
                <a:gd name="T41" fmla="*/ 0 h 343"/>
                <a:gd name="T42" fmla="*/ 0 w 336"/>
                <a:gd name="T43" fmla="*/ 0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8" name="Freeform 59"/>
            <p:cNvSpPr>
              <a:spLocks/>
            </p:cNvSpPr>
            <p:nvPr/>
          </p:nvSpPr>
          <p:spPr bwMode="auto">
            <a:xfrm>
              <a:off x="19538" y="1036"/>
              <a:ext cx="393" cy="1982"/>
            </a:xfrm>
            <a:custGeom>
              <a:avLst/>
              <a:gdLst>
                <a:gd name="T0" fmla="*/ 0 w 785"/>
                <a:gd name="T1" fmla="*/ 0 h 3959"/>
                <a:gd name="T2" fmla="*/ 0 w 785"/>
                <a:gd name="T3" fmla="*/ 1 h 3959"/>
                <a:gd name="T4" fmla="*/ 1 w 785"/>
                <a:gd name="T5" fmla="*/ 1 h 3959"/>
                <a:gd name="T6" fmla="*/ 1 w 785"/>
                <a:gd name="T7" fmla="*/ 1 h 3959"/>
                <a:gd name="T8" fmla="*/ 1 w 785"/>
                <a:gd name="T9" fmla="*/ 1 h 3959"/>
                <a:gd name="T10" fmla="*/ 1 w 785"/>
                <a:gd name="T11" fmla="*/ 1 h 3959"/>
                <a:gd name="T12" fmla="*/ 1 w 785"/>
                <a:gd name="T13" fmla="*/ 1 h 3959"/>
                <a:gd name="T14" fmla="*/ 1 w 785"/>
                <a:gd name="T15" fmla="*/ 1 h 3959"/>
                <a:gd name="T16" fmla="*/ 1 w 785"/>
                <a:gd name="T17" fmla="*/ 1 h 3959"/>
                <a:gd name="T18" fmla="*/ 1 w 785"/>
                <a:gd name="T19" fmla="*/ 1 h 3959"/>
                <a:gd name="T20" fmla="*/ 1 w 785"/>
                <a:gd name="T21" fmla="*/ 1 h 3959"/>
                <a:gd name="T22" fmla="*/ 1 w 785"/>
                <a:gd name="T23" fmla="*/ 1 h 3959"/>
                <a:gd name="T24" fmla="*/ 1 w 785"/>
                <a:gd name="T25" fmla="*/ 1 h 3959"/>
                <a:gd name="T26" fmla="*/ 1 w 785"/>
                <a:gd name="T27" fmla="*/ 1 h 3959"/>
                <a:gd name="T28" fmla="*/ 1 w 785"/>
                <a:gd name="T29" fmla="*/ 1 h 3959"/>
                <a:gd name="T30" fmla="*/ 1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9" name="Freeform 60"/>
            <p:cNvSpPr>
              <a:spLocks/>
            </p:cNvSpPr>
            <p:nvPr/>
          </p:nvSpPr>
          <p:spPr bwMode="auto">
            <a:xfrm>
              <a:off x="18421" y="2398"/>
              <a:ext cx="77" cy="219"/>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1 w 152"/>
                <a:gd name="T17" fmla="*/ 1 h 435"/>
                <a:gd name="T18" fmla="*/ 1 w 152"/>
                <a:gd name="T19" fmla="*/ 1 h 435"/>
                <a:gd name="T20" fmla="*/ 1 w 152"/>
                <a:gd name="T21" fmla="*/ 1 h 435"/>
                <a:gd name="T22" fmla="*/ 1 w 152"/>
                <a:gd name="T23" fmla="*/ 1 h 435"/>
                <a:gd name="T24" fmla="*/ 1 w 152"/>
                <a:gd name="T25" fmla="*/ 1 h 435"/>
                <a:gd name="T26" fmla="*/ 1 w 152"/>
                <a:gd name="T27" fmla="*/ 1 h 435"/>
                <a:gd name="T28" fmla="*/ 1 w 152"/>
                <a:gd name="T29" fmla="*/ 1 h 435"/>
                <a:gd name="T30" fmla="*/ 1 w 152"/>
                <a:gd name="T31" fmla="*/ 1 h 435"/>
                <a:gd name="T32" fmla="*/ 1 w 152"/>
                <a:gd name="T33" fmla="*/ 1 h 435"/>
                <a:gd name="T34" fmla="*/ 1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 name="Freeform 61"/>
            <p:cNvSpPr>
              <a:spLocks/>
            </p:cNvSpPr>
            <p:nvPr/>
          </p:nvSpPr>
          <p:spPr bwMode="auto">
            <a:xfrm>
              <a:off x="18223" y="1036"/>
              <a:ext cx="1307" cy="1982"/>
            </a:xfrm>
            <a:custGeom>
              <a:avLst/>
              <a:gdLst>
                <a:gd name="T0" fmla="*/ 0 w 2616"/>
                <a:gd name="T1" fmla="*/ 0 h 3962"/>
                <a:gd name="T2" fmla="*/ 0 w 2616"/>
                <a:gd name="T3" fmla="*/ 1 h 3962"/>
                <a:gd name="T4" fmla="*/ 0 w 2616"/>
                <a:gd name="T5" fmla="*/ 1 h 3962"/>
                <a:gd name="T6" fmla="*/ 0 w 2616"/>
                <a:gd name="T7" fmla="*/ 1 h 3962"/>
                <a:gd name="T8" fmla="*/ 0 w 2616"/>
                <a:gd name="T9" fmla="*/ 1 h 3962"/>
                <a:gd name="T10" fmla="*/ 0 w 2616"/>
                <a:gd name="T11" fmla="*/ 1 h 3962"/>
                <a:gd name="T12" fmla="*/ 0 w 2616"/>
                <a:gd name="T13" fmla="*/ 1 h 3962"/>
                <a:gd name="T14" fmla="*/ 0 w 2616"/>
                <a:gd name="T15" fmla="*/ 1 h 3962"/>
                <a:gd name="T16" fmla="*/ 0 w 2616"/>
                <a:gd name="T17" fmla="*/ 1 h 3962"/>
                <a:gd name="T18" fmla="*/ 0 w 2616"/>
                <a:gd name="T19" fmla="*/ 1 h 3962"/>
                <a:gd name="T20" fmla="*/ 0 w 2616"/>
                <a:gd name="T21" fmla="*/ 1 h 3962"/>
                <a:gd name="T22" fmla="*/ 0 w 2616"/>
                <a:gd name="T23" fmla="*/ 1 h 3962"/>
                <a:gd name="T24" fmla="*/ 0 w 2616"/>
                <a:gd name="T25" fmla="*/ 1 h 3962"/>
                <a:gd name="T26" fmla="*/ 0 w 2616"/>
                <a:gd name="T27" fmla="*/ 1 h 3962"/>
                <a:gd name="T28" fmla="*/ 0 w 2616"/>
                <a:gd name="T29" fmla="*/ 1 h 3962"/>
                <a:gd name="T30" fmla="*/ 0 w 2616"/>
                <a:gd name="T31" fmla="*/ 1 h 3962"/>
                <a:gd name="T32" fmla="*/ 0 w 2616"/>
                <a:gd name="T33" fmla="*/ 1 h 3962"/>
                <a:gd name="T34" fmla="*/ 0 w 2616"/>
                <a:gd name="T35" fmla="*/ 1 h 3962"/>
                <a:gd name="T36" fmla="*/ 0 w 2616"/>
                <a:gd name="T37" fmla="*/ 1 h 3962"/>
                <a:gd name="T38" fmla="*/ 0 w 2616"/>
                <a:gd name="T39" fmla="*/ 1 h 3962"/>
                <a:gd name="T40" fmla="*/ 0 w 2616"/>
                <a:gd name="T41" fmla="*/ 1 h 3962"/>
                <a:gd name="T42" fmla="*/ 0 w 2616"/>
                <a:gd name="T43" fmla="*/ 1 h 3962"/>
                <a:gd name="T44" fmla="*/ 0 w 2616"/>
                <a:gd name="T45" fmla="*/ 1 h 3962"/>
                <a:gd name="T46" fmla="*/ 0 w 2616"/>
                <a:gd name="T47" fmla="*/ 1 h 3962"/>
                <a:gd name="T48" fmla="*/ 0 w 2616"/>
                <a:gd name="T49" fmla="*/ 1 h 3962"/>
                <a:gd name="T50" fmla="*/ 0 w 2616"/>
                <a:gd name="T51" fmla="*/ 1 h 3962"/>
                <a:gd name="T52" fmla="*/ 0 w 2616"/>
                <a:gd name="T53" fmla="*/ 1 h 3962"/>
                <a:gd name="T54" fmla="*/ 0 w 2616"/>
                <a:gd name="T55" fmla="*/ 1 h 3962"/>
                <a:gd name="T56" fmla="*/ 0 w 2616"/>
                <a:gd name="T57" fmla="*/ 1 h 3962"/>
                <a:gd name="T58" fmla="*/ 0 w 2616"/>
                <a:gd name="T59" fmla="*/ 1 h 3962"/>
                <a:gd name="T60" fmla="*/ 0 w 2616"/>
                <a:gd name="T61" fmla="*/ 1 h 3962"/>
                <a:gd name="T62" fmla="*/ 0 w 2616"/>
                <a:gd name="T63" fmla="*/ 1 h 3962"/>
                <a:gd name="T64" fmla="*/ 0 w 2616"/>
                <a:gd name="T65" fmla="*/ 1 h 3962"/>
                <a:gd name="T66" fmla="*/ 0 w 2616"/>
                <a:gd name="T67" fmla="*/ 1 h 3962"/>
                <a:gd name="T68" fmla="*/ 0 w 2616"/>
                <a:gd name="T69" fmla="*/ 1 h 3962"/>
                <a:gd name="T70" fmla="*/ 0 w 2616"/>
                <a:gd name="T71" fmla="*/ 1 h 3962"/>
                <a:gd name="T72" fmla="*/ 0 w 2616"/>
                <a:gd name="T73" fmla="*/ 1 h 3962"/>
                <a:gd name="T74" fmla="*/ 0 w 2616"/>
                <a:gd name="T75" fmla="*/ 1 h 3962"/>
                <a:gd name="T76" fmla="*/ 0 w 2616"/>
                <a:gd name="T77" fmla="*/ 1 h 3962"/>
                <a:gd name="T78" fmla="*/ 0 w 2616"/>
                <a:gd name="T79" fmla="*/ 1 h 3962"/>
                <a:gd name="T80" fmla="*/ 0 w 2616"/>
                <a:gd name="T81" fmla="*/ 1 h 3962"/>
                <a:gd name="T82" fmla="*/ 0 w 2616"/>
                <a:gd name="T83" fmla="*/ 1 h 3962"/>
                <a:gd name="T84" fmla="*/ 0 w 2616"/>
                <a:gd name="T85" fmla="*/ 1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1" name="Freeform 62"/>
            <p:cNvSpPr>
              <a:spLocks noEditPoints="1"/>
            </p:cNvSpPr>
            <p:nvPr/>
          </p:nvSpPr>
          <p:spPr bwMode="auto">
            <a:xfrm>
              <a:off x="19995" y="1044"/>
              <a:ext cx="231" cy="231"/>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grpSp>
      <p:sp>
        <p:nvSpPr>
          <p:cNvPr id="12" name="Line 2"/>
          <p:cNvSpPr>
            <a:spLocks noChangeShapeType="1"/>
          </p:cNvSpPr>
          <p:nvPr/>
        </p:nvSpPr>
        <p:spPr bwMode="auto">
          <a:xfrm>
            <a:off x="8" y="3429000"/>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3151" name="Rectangle 79"/>
          <p:cNvSpPr>
            <a:spLocks noGrp="1" noChangeArrowheads="1"/>
          </p:cNvSpPr>
          <p:nvPr>
            <p:ph type="subTitle" idx="1"/>
          </p:nvPr>
        </p:nvSpPr>
        <p:spPr>
          <a:xfrm>
            <a:off x="2806700" y="4724400"/>
            <a:ext cx="5867400" cy="762000"/>
          </a:xfrm>
        </p:spPr>
        <p:txBody>
          <a:bodyPr lIns="228174"/>
          <a:lstStyle>
            <a:lvl1pPr algn="r">
              <a:defRPr b="0" cap="all" baseline="0">
                <a:solidFill>
                  <a:srgbClr val="006699"/>
                </a:solidFill>
              </a:defRPr>
            </a:lvl1pPr>
          </a:lstStyle>
          <a:p>
            <a:r>
              <a:rPr lang="en-US"/>
              <a:t>Click to edit Master subtitle style</a:t>
            </a:r>
          </a:p>
        </p:txBody>
      </p:sp>
      <p:sp>
        <p:nvSpPr>
          <p:cNvPr id="3074" name="Rectangle 2"/>
          <p:cNvSpPr>
            <a:spLocks noGrp="1" noChangeArrowheads="1"/>
          </p:cNvSpPr>
          <p:nvPr>
            <p:ph type="ctrTitle"/>
          </p:nvPr>
        </p:nvSpPr>
        <p:spPr>
          <a:xfrm>
            <a:off x="2790833" y="3505202"/>
            <a:ext cx="5895975" cy="1046440"/>
          </a:xfrm>
        </p:spPr>
        <p:txBody>
          <a:bodyPr lIns="228130" bIns="0" anchor="t">
            <a:spAutoFit/>
          </a:bodyPr>
          <a:lstStyle>
            <a:lvl1pPr algn="r">
              <a:defRPr sz="3400">
                <a:solidFill>
                  <a:srgbClr val="006699"/>
                </a:solidFill>
              </a:defRPr>
            </a:lvl1pPr>
          </a:lstStyle>
          <a:p>
            <a:r>
              <a:rPr lang="en-US"/>
              <a:t>Click to edit Master title style</a:t>
            </a:r>
          </a:p>
        </p:txBody>
      </p:sp>
    </p:spTree>
    <p:extLst>
      <p:ext uri="{BB962C8B-B14F-4D97-AF65-F5344CB8AC3E}">
        <p14:creationId xmlns:p14="http://schemas.microsoft.com/office/powerpoint/2010/main" val="10937636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p:nvSpPr>
        <p:spPr>
          <a:xfrm>
            <a:off x="853122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23235905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p:nvSpPr>
        <p:spPr>
          <a:xfrm>
            <a:off x="853122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4434517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10957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3" name="TextBox 2"/>
          <p:cNvSpPr txBox="1"/>
          <p:nvPr/>
        </p:nvSpPr>
        <p:spPr>
          <a:xfrm>
            <a:off x="853122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1627741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Box 1"/>
          <p:cNvSpPr txBox="1"/>
          <p:nvPr/>
        </p:nvSpPr>
        <p:spPr>
          <a:xfrm>
            <a:off x="853122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39606644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10881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837596" y="76835"/>
            <a:ext cx="8078108" cy="608371"/>
          </a:xfrm>
        </p:spPr>
        <p:txBody>
          <a:bodyPr/>
          <a:lstStyle/>
          <a:p>
            <a:r>
              <a:rPr lang="en-US"/>
              <a:t>Click to edit Master title style</a:t>
            </a:r>
          </a:p>
        </p:txBody>
      </p:sp>
      <p:sp>
        <p:nvSpPr>
          <p:cNvPr id="3" name="Content Placeholder 2"/>
          <p:cNvSpPr>
            <a:spLocks noGrp="1"/>
          </p:cNvSpPr>
          <p:nvPr>
            <p:ph sz="half" idx="1"/>
          </p:nvPr>
        </p:nvSpPr>
        <p:spPr>
          <a:xfrm>
            <a:off x="388560" y="1083086"/>
            <a:ext cx="8374440" cy="2547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88560" y="3777741"/>
            <a:ext cx="8374440" cy="2547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p:nvSpPr>
        <p:spPr>
          <a:xfrm>
            <a:off x="853122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12818025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2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4757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Divider Slide">
    <p:spTree>
      <p:nvGrpSpPr>
        <p:cNvPr id="1" name=""/>
        <p:cNvGrpSpPr/>
        <p:nvPr/>
      </p:nvGrpSpPr>
      <p:grpSpPr>
        <a:xfrm>
          <a:off x="0" y="0"/>
          <a:ext cx="0" cy="0"/>
          <a:chOff x="0" y="0"/>
          <a:chExt cx="0" cy="0"/>
        </a:xfrm>
      </p:grpSpPr>
      <p:grpSp>
        <p:nvGrpSpPr>
          <p:cNvPr id="4" name="Group 55"/>
          <p:cNvGrpSpPr>
            <a:grpSpLocks/>
          </p:cNvGrpSpPr>
          <p:nvPr/>
        </p:nvGrpSpPr>
        <p:grpSpPr bwMode="auto">
          <a:xfrm>
            <a:off x="457221" y="2362200"/>
            <a:ext cx="817563" cy="838200"/>
            <a:chOff x="18142" y="955"/>
            <a:chExt cx="2084" cy="2140"/>
          </a:xfrm>
        </p:grpSpPr>
        <p:sp>
          <p:nvSpPr>
            <p:cNvPr id="5" name="Rectangle 56"/>
            <p:cNvSpPr>
              <a:spLocks noChangeArrowheads="1"/>
            </p:cNvSpPr>
            <p:nvPr/>
          </p:nvSpPr>
          <p:spPr bwMode="auto">
            <a:xfrm>
              <a:off x="18142" y="955"/>
              <a:ext cx="1870"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6" name="Freeform 57"/>
            <p:cNvSpPr>
              <a:spLocks/>
            </p:cNvSpPr>
            <p:nvPr/>
          </p:nvSpPr>
          <p:spPr bwMode="auto">
            <a:xfrm>
              <a:off x="19101" y="2390"/>
              <a:ext cx="397" cy="620"/>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7" name="Freeform 58"/>
            <p:cNvSpPr>
              <a:spLocks/>
            </p:cNvSpPr>
            <p:nvPr/>
          </p:nvSpPr>
          <p:spPr bwMode="auto">
            <a:xfrm>
              <a:off x="19222" y="2738"/>
              <a:ext cx="166" cy="170"/>
            </a:xfrm>
            <a:custGeom>
              <a:avLst/>
              <a:gdLst>
                <a:gd name="T0" fmla="*/ 0 w 336"/>
                <a:gd name="T1" fmla="*/ 0 h 343"/>
                <a:gd name="T2" fmla="*/ 0 w 336"/>
                <a:gd name="T3" fmla="*/ 0 h 343"/>
                <a:gd name="T4" fmla="*/ 0 w 336"/>
                <a:gd name="T5" fmla="*/ 0 h 343"/>
                <a:gd name="T6" fmla="*/ 0 w 336"/>
                <a:gd name="T7" fmla="*/ 0 h 343"/>
                <a:gd name="T8" fmla="*/ 0 w 336"/>
                <a:gd name="T9" fmla="*/ 0 h 343"/>
                <a:gd name="T10" fmla="*/ 0 w 336"/>
                <a:gd name="T11" fmla="*/ 0 h 343"/>
                <a:gd name="T12" fmla="*/ 0 w 336"/>
                <a:gd name="T13" fmla="*/ 0 h 343"/>
                <a:gd name="T14" fmla="*/ 0 w 336"/>
                <a:gd name="T15" fmla="*/ 0 h 343"/>
                <a:gd name="T16" fmla="*/ 0 w 336"/>
                <a:gd name="T17" fmla="*/ 0 h 343"/>
                <a:gd name="T18" fmla="*/ 0 w 336"/>
                <a:gd name="T19" fmla="*/ 0 h 343"/>
                <a:gd name="T20" fmla="*/ 0 w 336"/>
                <a:gd name="T21" fmla="*/ 0 h 343"/>
                <a:gd name="T22" fmla="*/ 0 w 336"/>
                <a:gd name="T23" fmla="*/ 0 h 343"/>
                <a:gd name="T24" fmla="*/ 0 w 336"/>
                <a:gd name="T25" fmla="*/ 0 h 343"/>
                <a:gd name="T26" fmla="*/ 0 w 336"/>
                <a:gd name="T27" fmla="*/ 0 h 343"/>
                <a:gd name="T28" fmla="*/ 0 w 336"/>
                <a:gd name="T29" fmla="*/ 0 h 343"/>
                <a:gd name="T30" fmla="*/ 0 w 336"/>
                <a:gd name="T31" fmla="*/ 0 h 343"/>
                <a:gd name="T32" fmla="*/ 0 w 336"/>
                <a:gd name="T33" fmla="*/ 0 h 343"/>
                <a:gd name="T34" fmla="*/ 0 w 336"/>
                <a:gd name="T35" fmla="*/ 0 h 343"/>
                <a:gd name="T36" fmla="*/ 0 w 336"/>
                <a:gd name="T37" fmla="*/ 0 h 343"/>
                <a:gd name="T38" fmla="*/ 0 w 336"/>
                <a:gd name="T39" fmla="*/ 0 h 343"/>
                <a:gd name="T40" fmla="*/ 0 w 336"/>
                <a:gd name="T41" fmla="*/ 0 h 343"/>
                <a:gd name="T42" fmla="*/ 0 w 336"/>
                <a:gd name="T43" fmla="*/ 0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8" name="Freeform 59"/>
            <p:cNvSpPr>
              <a:spLocks/>
            </p:cNvSpPr>
            <p:nvPr/>
          </p:nvSpPr>
          <p:spPr bwMode="auto">
            <a:xfrm>
              <a:off x="19538" y="1036"/>
              <a:ext cx="393" cy="1982"/>
            </a:xfrm>
            <a:custGeom>
              <a:avLst/>
              <a:gdLst>
                <a:gd name="T0" fmla="*/ 0 w 785"/>
                <a:gd name="T1" fmla="*/ 0 h 3959"/>
                <a:gd name="T2" fmla="*/ 0 w 785"/>
                <a:gd name="T3" fmla="*/ 1 h 3959"/>
                <a:gd name="T4" fmla="*/ 1 w 785"/>
                <a:gd name="T5" fmla="*/ 1 h 3959"/>
                <a:gd name="T6" fmla="*/ 1 w 785"/>
                <a:gd name="T7" fmla="*/ 1 h 3959"/>
                <a:gd name="T8" fmla="*/ 1 w 785"/>
                <a:gd name="T9" fmla="*/ 1 h 3959"/>
                <a:gd name="T10" fmla="*/ 1 w 785"/>
                <a:gd name="T11" fmla="*/ 1 h 3959"/>
                <a:gd name="T12" fmla="*/ 1 w 785"/>
                <a:gd name="T13" fmla="*/ 1 h 3959"/>
                <a:gd name="T14" fmla="*/ 1 w 785"/>
                <a:gd name="T15" fmla="*/ 1 h 3959"/>
                <a:gd name="T16" fmla="*/ 1 w 785"/>
                <a:gd name="T17" fmla="*/ 1 h 3959"/>
                <a:gd name="T18" fmla="*/ 1 w 785"/>
                <a:gd name="T19" fmla="*/ 1 h 3959"/>
                <a:gd name="T20" fmla="*/ 1 w 785"/>
                <a:gd name="T21" fmla="*/ 1 h 3959"/>
                <a:gd name="T22" fmla="*/ 1 w 785"/>
                <a:gd name="T23" fmla="*/ 1 h 3959"/>
                <a:gd name="T24" fmla="*/ 1 w 785"/>
                <a:gd name="T25" fmla="*/ 1 h 3959"/>
                <a:gd name="T26" fmla="*/ 1 w 785"/>
                <a:gd name="T27" fmla="*/ 1 h 3959"/>
                <a:gd name="T28" fmla="*/ 1 w 785"/>
                <a:gd name="T29" fmla="*/ 1 h 3959"/>
                <a:gd name="T30" fmla="*/ 1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9" name="Freeform 60"/>
            <p:cNvSpPr>
              <a:spLocks/>
            </p:cNvSpPr>
            <p:nvPr/>
          </p:nvSpPr>
          <p:spPr bwMode="auto">
            <a:xfrm>
              <a:off x="18421" y="2398"/>
              <a:ext cx="77" cy="219"/>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1 w 152"/>
                <a:gd name="T17" fmla="*/ 1 h 435"/>
                <a:gd name="T18" fmla="*/ 1 w 152"/>
                <a:gd name="T19" fmla="*/ 1 h 435"/>
                <a:gd name="T20" fmla="*/ 1 w 152"/>
                <a:gd name="T21" fmla="*/ 1 h 435"/>
                <a:gd name="T22" fmla="*/ 1 w 152"/>
                <a:gd name="T23" fmla="*/ 1 h 435"/>
                <a:gd name="T24" fmla="*/ 1 w 152"/>
                <a:gd name="T25" fmla="*/ 1 h 435"/>
                <a:gd name="T26" fmla="*/ 1 w 152"/>
                <a:gd name="T27" fmla="*/ 1 h 435"/>
                <a:gd name="T28" fmla="*/ 1 w 152"/>
                <a:gd name="T29" fmla="*/ 1 h 435"/>
                <a:gd name="T30" fmla="*/ 1 w 152"/>
                <a:gd name="T31" fmla="*/ 1 h 435"/>
                <a:gd name="T32" fmla="*/ 1 w 152"/>
                <a:gd name="T33" fmla="*/ 1 h 435"/>
                <a:gd name="T34" fmla="*/ 1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 name="Freeform 61"/>
            <p:cNvSpPr>
              <a:spLocks/>
            </p:cNvSpPr>
            <p:nvPr/>
          </p:nvSpPr>
          <p:spPr bwMode="auto">
            <a:xfrm>
              <a:off x="18223" y="1036"/>
              <a:ext cx="1307" cy="1982"/>
            </a:xfrm>
            <a:custGeom>
              <a:avLst/>
              <a:gdLst>
                <a:gd name="T0" fmla="*/ 0 w 2616"/>
                <a:gd name="T1" fmla="*/ 0 h 3962"/>
                <a:gd name="T2" fmla="*/ 0 w 2616"/>
                <a:gd name="T3" fmla="*/ 1 h 3962"/>
                <a:gd name="T4" fmla="*/ 0 w 2616"/>
                <a:gd name="T5" fmla="*/ 1 h 3962"/>
                <a:gd name="T6" fmla="*/ 0 w 2616"/>
                <a:gd name="T7" fmla="*/ 1 h 3962"/>
                <a:gd name="T8" fmla="*/ 0 w 2616"/>
                <a:gd name="T9" fmla="*/ 1 h 3962"/>
                <a:gd name="T10" fmla="*/ 0 w 2616"/>
                <a:gd name="T11" fmla="*/ 1 h 3962"/>
                <a:gd name="T12" fmla="*/ 0 w 2616"/>
                <a:gd name="T13" fmla="*/ 1 h 3962"/>
                <a:gd name="T14" fmla="*/ 0 w 2616"/>
                <a:gd name="T15" fmla="*/ 1 h 3962"/>
                <a:gd name="T16" fmla="*/ 0 w 2616"/>
                <a:gd name="T17" fmla="*/ 1 h 3962"/>
                <a:gd name="T18" fmla="*/ 0 w 2616"/>
                <a:gd name="T19" fmla="*/ 1 h 3962"/>
                <a:gd name="T20" fmla="*/ 0 w 2616"/>
                <a:gd name="T21" fmla="*/ 1 h 3962"/>
                <a:gd name="T22" fmla="*/ 0 w 2616"/>
                <a:gd name="T23" fmla="*/ 1 h 3962"/>
                <a:gd name="T24" fmla="*/ 0 w 2616"/>
                <a:gd name="T25" fmla="*/ 1 h 3962"/>
                <a:gd name="T26" fmla="*/ 0 w 2616"/>
                <a:gd name="T27" fmla="*/ 1 h 3962"/>
                <a:gd name="T28" fmla="*/ 0 w 2616"/>
                <a:gd name="T29" fmla="*/ 1 h 3962"/>
                <a:gd name="T30" fmla="*/ 0 w 2616"/>
                <a:gd name="T31" fmla="*/ 1 h 3962"/>
                <a:gd name="T32" fmla="*/ 0 w 2616"/>
                <a:gd name="T33" fmla="*/ 1 h 3962"/>
                <a:gd name="T34" fmla="*/ 0 w 2616"/>
                <a:gd name="T35" fmla="*/ 1 h 3962"/>
                <a:gd name="T36" fmla="*/ 0 w 2616"/>
                <a:gd name="T37" fmla="*/ 1 h 3962"/>
                <a:gd name="T38" fmla="*/ 0 w 2616"/>
                <a:gd name="T39" fmla="*/ 1 h 3962"/>
                <a:gd name="T40" fmla="*/ 0 w 2616"/>
                <a:gd name="T41" fmla="*/ 1 h 3962"/>
                <a:gd name="T42" fmla="*/ 0 w 2616"/>
                <a:gd name="T43" fmla="*/ 1 h 3962"/>
                <a:gd name="T44" fmla="*/ 0 w 2616"/>
                <a:gd name="T45" fmla="*/ 1 h 3962"/>
                <a:gd name="T46" fmla="*/ 0 w 2616"/>
                <a:gd name="T47" fmla="*/ 1 h 3962"/>
                <a:gd name="T48" fmla="*/ 0 w 2616"/>
                <a:gd name="T49" fmla="*/ 1 h 3962"/>
                <a:gd name="T50" fmla="*/ 0 w 2616"/>
                <a:gd name="T51" fmla="*/ 1 h 3962"/>
                <a:gd name="T52" fmla="*/ 0 w 2616"/>
                <a:gd name="T53" fmla="*/ 1 h 3962"/>
                <a:gd name="T54" fmla="*/ 0 w 2616"/>
                <a:gd name="T55" fmla="*/ 1 h 3962"/>
                <a:gd name="T56" fmla="*/ 0 w 2616"/>
                <a:gd name="T57" fmla="*/ 1 h 3962"/>
                <a:gd name="T58" fmla="*/ 0 w 2616"/>
                <a:gd name="T59" fmla="*/ 1 h 3962"/>
                <a:gd name="T60" fmla="*/ 0 w 2616"/>
                <a:gd name="T61" fmla="*/ 1 h 3962"/>
                <a:gd name="T62" fmla="*/ 0 w 2616"/>
                <a:gd name="T63" fmla="*/ 1 h 3962"/>
                <a:gd name="T64" fmla="*/ 0 w 2616"/>
                <a:gd name="T65" fmla="*/ 1 h 3962"/>
                <a:gd name="T66" fmla="*/ 0 w 2616"/>
                <a:gd name="T67" fmla="*/ 1 h 3962"/>
                <a:gd name="T68" fmla="*/ 0 w 2616"/>
                <a:gd name="T69" fmla="*/ 1 h 3962"/>
                <a:gd name="T70" fmla="*/ 0 w 2616"/>
                <a:gd name="T71" fmla="*/ 1 h 3962"/>
                <a:gd name="T72" fmla="*/ 0 w 2616"/>
                <a:gd name="T73" fmla="*/ 1 h 3962"/>
                <a:gd name="T74" fmla="*/ 0 w 2616"/>
                <a:gd name="T75" fmla="*/ 1 h 3962"/>
                <a:gd name="T76" fmla="*/ 0 w 2616"/>
                <a:gd name="T77" fmla="*/ 1 h 3962"/>
                <a:gd name="T78" fmla="*/ 0 w 2616"/>
                <a:gd name="T79" fmla="*/ 1 h 3962"/>
                <a:gd name="T80" fmla="*/ 0 w 2616"/>
                <a:gd name="T81" fmla="*/ 1 h 3962"/>
                <a:gd name="T82" fmla="*/ 0 w 2616"/>
                <a:gd name="T83" fmla="*/ 1 h 3962"/>
                <a:gd name="T84" fmla="*/ 0 w 2616"/>
                <a:gd name="T85" fmla="*/ 1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1" name="Freeform 62"/>
            <p:cNvSpPr>
              <a:spLocks noEditPoints="1"/>
            </p:cNvSpPr>
            <p:nvPr/>
          </p:nvSpPr>
          <p:spPr bwMode="auto">
            <a:xfrm>
              <a:off x="19995" y="1044"/>
              <a:ext cx="231" cy="231"/>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grpSp>
      <p:sp>
        <p:nvSpPr>
          <p:cNvPr id="12" name="Line 2"/>
          <p:cNvSpPr>
            <a:spLocks noChangeShapeType="1"/>
          </p:cNvSpPr>
          <p:nvPr/>
        </p:nvSpPr>
        <p:spPr bwMode="auto">
          <a:xfrm>
            <a:off x="8" y="3429000"/>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ndParaRPr>
          </a:p>
        </p:txBody>
      </p:sp>
      <p:sp>
        <p:nvSpPr>
          <p:cNvPr id="3151" name="Rectangle 79"/>
          <p:cNvSpPr>
            <a:spLocks noGrp="1" noChangeArrowheads="1"/>
          </p:cNvSpPr>
          <p:nvPr>
            <p:ph type="subTitle" idx="1"/>
          </p:nvPr>
        </p:nvSpPr>
        <p:spPr>
          <a:xfrm>
            <a:off x="2806700" y="4724400"/>
            <a:ext cx="5867400" cy="762000"/>
          </a:xfrm>
        </p:spPr>
        <p:txBody>
          <a:bodyPr lIns="228174"/>
          <a:lstStyle>
            <a:lvl1pPr algn="r">
              <a:defRPr b="0" cap="all" baseline="0">
                <a:solidFill>
                  <a:srgbClr val="006699"/>
                </a:solidFill>
              </a:defRPr>
            </a:lvl1pPr>
          </a:lstStyle>
          <a:p>
            <a:r>
              <a:rPr lang="en-US"/>
              <a:t>Click to edit Master subtitle style</a:t>
            </a:r>
          </a:p>
        </p:txBody>
      </p:sp>
      <p:sp>
        <p:nvSpPr>
          <p:cNvPr id="3074" name="Rectangle 2"/>
          <p:cNvSpPr>
            <a:spLocks noGrp="1" noChangeArrowheads="1"/>
          </p:cNvSpPr>
          <p:nvPr>
            <p:ph type="ctrTitle"/>
          </p:nvPr>
        </p:nvSpPr>
        <p:spPr>
          <a:xfrm>
            <a:off x="2790833" y="3505202"/>
            <a:ext cx="5895975" cy="1046440"/>
          </a:xfrm>
        </p:spPr>
        <p:txBody>
          <a:bodyPr lIns="228130" bIns="0" anchor="t">
            <a:spAutoFit/>
          </a:bodyPr>
          <a:lstStyle>
            <a:lvl1pPr algn="r">
              <a:defRPr sz="3400">
                <a:solidFill>
                  <a:srgbClr val="006699"/>
                </a:solidFill>
              </a:defRPr>
            </a:lvl1pPr>
          </a:lstStyle>
          <a:p>
            <a:r>
              <a:rPr lang="en-US"/>
              <a:t>Click to edit Master title style</a:t>
            </a:r>
          </a:p>
        </p:txBody>
      </p:sp>
    </p:spTree>
    <p:extLst>
      <p:ext uri="{BB962C8B-B14F-4D97-AF65-F5344CB8AC3E}">
        <p14:creationId xmlns:p14="http://schemas.microsoft.com/office/powerpoint/2010/main" val="4100925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36499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13419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776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00330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31709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Divider Slide">
    <p:spTree>
      <p:nvGrpSpPr>
        <p:cNvPr id="1" name=""/>
        <p:cNvGrpSpPr/>
        <p:nvPr/>
      </p:nvGrpSpPr>
      <p:grpSpPr>
        <a:xfrm>
          <a:off x="0" y="0"/>
          <a:ext cx="0" cy="0"/>
          <a:chOff x="0" y="0"/>
          <a:chExt cx="0" cy="0"/>
        </a:xfrm>
      </p:grpSpPr>
      <p:grpSp>
        <p:nvGrpSpPr>
          <p:cNvPr id="4" name="Group 55"/>
          <p:cNvGrpSpPr>
            <a:grpSpLocks/>
          </p:cNvGrpSpPr>
          <p:nvPr/>
        </p:nvGrpSpPr>
        <p:grpSpPr bwMode="auto">
          <a:xfrm>
            <a:off x="457221" y="2362200"/>
            <a:ext cx="817563" cy="838200"/>
            <a:chOff x="18142" y="955"/>
            <a:chExt cx="2084" cy="2140"/>
          </a:xfrm>
        </p:grpSpPr>
        <p:sp>
          <p:nvSpPr>
            <p:cNvPr id="5" name="Rectangle 56"/>
            <p:cNvSpPr>
              <a:spLocks noChangeArrowheads="1"/>
            </p:cNvSpPr>
            <p:nvPr/>
          </p:nvSpPr>
          <p:spPr bwMode="auto">
            <a:xfrm>
              <a:off x="18142" y="955"/>
              <a:ext cx="1870"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6" name="Freeform 57"/>
            <p:cNvSpPr>
              <a:spLocks/>
            </p:cNvSpPr>
            <p:nvPr/>
          </p:nvSpPr>
          <p:spPr bwMode="auto">
            <a:xfrm>
              <a:off x="19101" y="2390"/>
              <a:ext cx="397" cy="620"/>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7" name="Freeform 58"/>
            <p:cNvSpPr>
              <a:spLocks/>
            </p:cNvSpPr>
            <p:nvPr/>
          </p:nvSpPr>
          <p:spPr bwMode="auto">
            <a:xfrm>
              <a:off x="19222" y="2738"/>
              <a:ext cx="166" cy="170"/>
            </a:xfrm>
            <a:custGeom>
              <a:avLst/>
              <a:gdLst>
                <a:gd name="T0" fmla="*/ 0 w 336"/>
                <a:gd name="T1" fmla="*/ 0 h 343"/>
                <a:gd name="T2" fmla="*/ 0 w 336"/>
                <a:gd name="T3" fmla="*/ 0 h 343"/>
                <a:gd name="T4" fmla="*/ 0 w 336"/>
                <a:gd name="T5" fmla="*/ 0 h 343"/>
                <a:gd name="T6" fmla="*/ 0 w 336"/>
                <a:gd name="T7" fmla="*/ 0 h 343"/>
                <a:gd name="T8" fmla="*/ 0 w 336"/>
                <a:gd name="T9" fmla="*/ 0 h 343"/>
                <a:gd name="T10" fmla="*/ 0 w 336"/>
                <a:gd name="T11" fmla="*/ 0 h 343"/>
                <a:gd name="T12" fmla="*/ 0 w 336"/>
                <a:gd name="T13" fmla="*/ 0 h 343"/>
                <a:gd name="T14" fmla="*/ 0 w 336"/>
                <a:gd name="T15" fmla="*/ 0 h 343"/>
                <a:gd name="T16" fmla="*/ 0 w 336"/>
                <a:gd name="T17" fmla="*/ 0 h 343"/>
                <a:gd name="T18" fmla="*/ 0 w 336"/>
                <a:gd name="T19" fmla="*/ 0 h 343"/>
                <a:gd name="T20" fmla="*/ 0 w 336"/>
                <a:gd name="T21" fmla="*/ 0 h 343"/>
                <a:gd name="T22" fmla="*/ 0 w 336"/>
                <a:gd name="T23" fmla="*/ 0 h 343"/>
                <a:gd name="T24" fmla="*/ 0 w 336"/>
                <a:gd name="T25" fmla="*/ 0 h 343"/>
                <a:gd name="T26" fmla="*/ 0 w 336"/>
                <a:gd name="T27" fmla="*/ 0 h 343"/>
                <a:gd name="T28" fmla="*/ 0 w 336"/>
                <a:gd name="T29" fmla="*/ 0 h 343"/>
                <a:gd name="T30" fmla="*/ 0 w 336"/>
                <a:gd name="T31" fmla="*/ 0 h 343"/>
                <a:gd name="T32" fmla="*/ 0 w 336"/>
                <a:gd name="T33" fmla="*/ 0 h 343"/>
                <a:gd name="T34" fmla="*/ 0 w 336"/>
                <a:gd name="T35" fmla="*/ 0 h 343"/>
                <a:gd name="T36" fmla="*/ 0 w 336"/>
                <a:gd name="T37" fmla="*/ 0 h 343"/>
                <a:gd name="T38" fmla="*/ 0 w 336"/>
                <a:gd name="T39" fmla="*/ 0 h 343"/>
                <a:gd name="T40" fmla="*/ 0 w 336"/>
                <a:gd name="T41" fmla="*/ 0 h 343"/>
                <a:gd name="T42" fmla="*/ 0 w 336"/>
                <a:gd name="T43" fmla="*/ 0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8" name="Freeform 59"/>
            <p:cNvSpPr>
              <a:spLocks/>
            </p:cNvSpPr>
            <p:nvPr/>
          </p:nvSpPr>
          <p:spPr bwMode="auto">
            <a:xfrm>
              <a:off x="19538" y="1036"/>
              <a:ext cx="393" cy="1982"/>
            </a:xfrm>
            <a:custGeom>
              <a:avLst/>
              <a:gdLst>
                <a:gd name="T0" fmla="*/ 0 w 785"/>
                <a:gd name="T1" fmla="*/ 0 h 3959"/>
                <a:gd name="T2" fmla="*/ 0 w 785"/>
                <a:gd name="T3" fmla="*/ 1 h 3959"/>
                <a:gd name="T4" fmla="*/ 1 w 785"/>
                <a:gd name="T5" fmla="*/ 1 h 3959"/>
                <a:gd name="T6" fmla="*/ 1 w 785"/>
                <a:gd name="T7" fmla="*/ 1 h 3959"/>
                <a:gd name="T8" fmla="*/ 1 w 785"/>
                <a:gd name="T9" fmla="*/ 1 h 3959"/>
                <a:gd name="T10" fmla="*/ 1 w 785"/>
                <a:gd name="T11" fmla="*/ 1 h 3959"/>
                <a:gd name="T12" fmla="*/ 1 w 785"/>
                <a:gd name="T13" fmla="*/ 1 h 3959"/>
                <a:gd name="T14" fmla="*/ 1 w 785"/>
                <a:gd name="T15" fmla="*/ 1 h 3959"/>
                <a:gd name="T16" fmla="*/ 1 w 785"/>
                <a:gd name="T17" fmla="*/ 1 h 3959"/>
                <a:gd name="T18" fmla="*/ 1 w 785"/>
                <a:gd name="T19" fmla="*/ 1 h 3959"/>
                <a:gd name="T20" fmla="*/ 1 w 785"/>
                <a:gd name="T21" fmla="*/ 1 h 3959"/>
                <a:gd name="T22" fmla="*/ 1 w 785"/>
                <a:gd name="T23" fmla="*/ 1 h 3959"/>
                <a:gd name="T24" fmla="*/ 1 w 785"/>
                <a:gd name="T25" fmla="*/ 1 h 3959"/>
                <a:gd name="T26" fmla="*/ 1 w 785"/>
                <a:gd name="T27" fmla="*/ 1 h 3959"/>
                <a:gd name="T28" fmla="*/ 1 w 785"/>
                <a:gd name="T29" fmla="*/ 1 h 3959"/>
                <a:gd name="T30" fmla="*/ 1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9" name="Freeform 60"/>
            <p:cNvSpPr>
              <a:spLocks/>
            </p:cNvSpPr>
            <p:nvPr/>
          </p:nvSpPr>
          <p:spPr bwMode="auto">
            <a:xfrm>
              <a:off x="18421" y="2398"/>
              <a:ext cx="77" cy="219"/>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1 w 152"/>
                <a:gd name="T17" fmla="*/ 1 h 435"/>
                <a:gd name="T18" fmla="*/ 1 w 152"/>
                <a:gd name="T19" fmla="*/ 1 h 435"/>
                <a:gd name="T20" fmla="*/ 1 w 152"/>
                <a:gd name="T21" fmla="*/ 1 h 435"/>
                <a:gd name="T22" fmla="*/ 1 w 152"/>
                <a:gd name="T23" fmla="*/ 1 h 435"/>
                <a:gd name="T24" fmla="*/ 1 w 152"/>
                <a:gd name="T25" fmla="*/ 1 h 435"/>
                <a:gd name="T26" fmla="*/ 1 w 152"/>
                <a:gd name="T27" fmla="*/ 1 h 435"/>
                <a:gd name="T28" fmla="*/ 1 w 152"/>
                <a:gd name="T29" fmla="*/ 1 h 435"/>
                <a:gd name="T30" fmla="*/ 1 w 152"/>
                <a:gd name="T31" fmla="*/ 1 h 435"/>
                <a:gd name="T32" fmla="*/ 1 w 152"/>
                <a:gd name="T33" fmla="*/ 1 h 435"/>
                <a:gd name="T34" fmla="*/ 1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 name="Freeform 61"/>
            <p:cNvSpPr>
              <a:spLocks/>
            </p:cNvSpPr>
            <p:nvPr/>
          </p:nvSpPr>
          <p:spPr bwMode="auto">
            <a:xfrm>
              <a:off x="18223" y="1036"/>
              <a:ext cx="1307" cy="1982"/>
            </a:xfrm>
            <a:custGeom>
              <a:avLst/>
              <a:gdLst>
                <a:gd name="T0" fmla="*/ 0 w 2616"/>
                <a:gd name="T1" fmla="*/ 0 h 3962"/>
                <a:gd name="T2" fmla="*/ 0 w 2616"/>
                <a:gd name="T3" fmla="*/ 1 h 3962"/>
                <a:gd name="T4" fmla="*/ 0 w 2616"/>
                <a:gd name="T5" fmla="*/ 1 h 3962"/>
                <a:gd name="T6" fmla="*/ 0 w 2616"/>
                <a:gd name="T7" fmla="*/ 1 h 3962"/>
                <a:gd name="T8" fmla="*/ 0 w 2616"/>
                <a:gd name="T9" fmla="*/ 1 h 3962"/>
                <a:gd name="T10" fmla="*/ 0 w 2616"/>
                <a:gd name="T11" fmla="*/ 1 h 3962"/>
                <a:gd name="T12" fmla="*/ 0 w 2616"/>
                <a:gd name="T13" fmla="*/ 1 h 3962"/>
                <a:gd name="T14" fmla="*/ 0 w 2616"/>
                <a:gd name="T15" fmla="*/ 1 h 3962"/>
                <a:gd name="T16" fmla="*/ 0 w 2616"/>
                <a:gd name="T17" fmla="*/ 1 h 3962"/>
                <a:gd name="T18" fmla="*/ 0 w 2616"/>
                <a:gd name="T19" fmla="*/ 1 h 3962"/>
                <a:gd name="T20" fmla="*/ 0 w 2616"/>
                <a:gd name="T21" fmla="*/ 1 h 3962"/>
                <a:gd name="T22" fmla="*/ 0 w 2616"/>
                <a:gd name="T23" fmla="*/ 1 h 3962"/>
                <a:gd name="T24" fmla="*/ 0 w 2616"/>
                <a:gd name="T25" fmla="*/ 1 h 3962"/>
                <a:gd name="T26" fmla="*/ 0 w 2616"/>
                <a:gd name="T27" fmla="*/ 1 h 3962"/>
                <a:gd name="T28" fmla="*/ 0 w 2616"/>
                <a:gd name="T29" fmla="*/ 1 h 3962"/>
                <a:gd name="T30" fmla="*/ 0 w 2616"/>
                <a:gd name="T31" fmla="*/ 1 h 3962"/>
                <a:gd name="T32" fmla="*/ 0 w 2616"/>
                <a:gd name="T33" fmla="*/ 1 h 3962"/>
                <a:gd name="T34" fmla="*/ 0 w 2616"/>
                <a:gd name="T35" fmla="*/ 1 h 3962"/>
                <a:gd name="T36" fmla="*/ 0 w 2616"/>
                <a:gd name="T37" fmla="*/ 1 h 3962"/>
                <a:gd name="T38" fmla="*/ 0 w 2616"/>
                <a:gd name="T39" fmla="*/ 1 h 3962"/>
                <a:gd name="T40" fmla="*/ 0 w 2616"/>
                <a:gd name="T41" fmla="*/ 1 h 3962"/>
                <a:gd name="T42" fmla="*/ 0 w 2616"/>
                <a:gd name="T43" fmla="*/ 1 h 3962"/>
                <a:gd name="T44" fmla="*/ 0 w 2616"/>
                <a:gd name="T45" fmla="*/ 1 h 3962"/>
                <a:gd name="T46" fmla="*/ 0 w 2616"/>
                <a:gd name="T47" fmla="*/ 1 h 3962"/>
                <a:gd name="T48" fmla="*/ 0 w 2616"/>
                <a:gd name="T49" fmla="*/ 1 h 3962"/>
                <a:gd name="T50" fmla="*/ 0 w 2616"/>
                <a:gd name="T51" fmla="*/ 1 h 3962"/>
                <a:gd name="T52" fmla="*/ 0 w 2616"/>
                <a:gd name="T53" fmla="*/ 1 h 3962"/>
                <a:gd name="T54" fmla="*/ 0 w 2616"/>
                <a:gd name="T55" fmla="*/ 1 h 3962"/>
                <a:gd name="T56" fmla="*/ 0 w 2616"/>
                <a:gd name="T57" fmla="*/ 1 h 3962"/>
                <a:gd name="T58" fmla="*/ 0 w 2616"/>
                <a:gd name="T59" fmla="*/ 1 h 3962"/>
                <a:gd name="T60" fmla="*/ 0 w 2616"/>
                <a:gd name="T61" fmla="*/ 1 h 3962"/>
                <a:gd name="T62" fmla="*/ 0 w 2616"/>
                <a:gd name="T63" fmla="*/ 1 h 3962"/>
                <a:gd name="T64" fmla="*/ 0 w 2616"/>
                <a:gd name="T65" fmla="*/ 1 h 3962"/>
                <a:gd name="T66" fmla="*/ 0 w 2616"/>
                <a:gd name="T67" fmla="*/ 1 h 3962"/>
                <a:gd name="T68" fmla="*/ 0 w 2616"/>
                <a:gd name="T69" fmla="*/ 1 h 3962"/>
                <a:gd name="T70" fmla="*/ 0 w 2616"/>
                <a:gd name="T71" fmla="*/ 1 h 3962"/>
                <a:gd name="T72" fmla="*/ 0 w 2616"/>
                <a:gd name="T73" fmla="*/ 1 h 3962"/>
                <a:gd name="T74" fmla="*/ 0 w 2616"/>
                <a:gd name="T75" fmla="*/ 1 h 3962"/>
                <a:gd name="T76" fmla="*/ 0 w 2616"/>
                <a:gd name="T77" fmla="*/ 1 h 3962"/>
                <a:gd name="T78" fmla="*/ 0 w 2616"/>
                <a:gd name="T79" fmla="*/ 1 h 3962"/>
                <a:gd name="T80" fmla="*/ 0 w 2616"/>
                <a:gd name="T81" fmla="*/ 1 h 3962"/>
                <a:gd name="T82" fmla="*/ 0 w 2616"/>
                <a:gd name="T83" fmla="*/ 1 h 3962"/>
                <a:gd name="T84" fmla="*/ 0 w 2616"/>
                <a:gd name="T85" fmla="*/ 1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1" name="Freeform 62"/>
            <p:cNvSpPr>
              <a:spLocks noEditPoints="1"/>
            </p:cNvSpPr>
            <p:nvPr/>
          </p:nvSpPr>
          <p:spPr bwMode="auto">
            <a:xfrm>
              <a:off x="19995" y="1044"/>
              <a:ext cx="231" cy="231"/>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grpSp>
      <p:sp>
        <p:nvSpPr>
          <p:cNvPr id="12" name="Line 2"/>
          <p:cNvSpPr>
            <a:spLocks noChangeShapeType="1"/>
          </p:cNvSpPr>
          <p:nvPr/>
        </p:nvSpPr>
        <p:spPr bwMode="auto">
          <a:xfrm>
            <a:off x="8" y="3429000"/>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3151" name="Rectangle 79"/>
          <p:cNvSpPr>
            <a:spLocks noGrp="1" noChangeArrowheads="1"/>
          </p:cNvSpPr>
          <p:nvPr>
            <p:ph type="subTitle" idx="1"/>
          </p:nvPr>
        </p:nvSpPr>
        <p:spPr>
          <a:xfrm>
            <a:off x="2806700" y="4724400"/>
            <a:ext cx="5867400" cy="762000"/>
          </a:xfrm>
        </p:spPr>
        <p:txBody>
          <a:bodyPr lIns="228174"/>
          <a:lstStyle>
            <a:lvl1pPr algn="r">
              <a:defRPr b="0" cap="all" baseline="0">
                <a:solidFill>
                  <a:srgbClr val="006699"/>
                </a:solidFill>
              </a:defRPr>
            </a:lvl1pPr>
          </a:lstStyle>
          <a:p>
            <a:r>
              <a:rPr lang="en-US"/>
              <a:t>Click to edit Master subtitle style</a:t>
            </a:r>
          </a:p>
        </p:txBody>
      </p:sp>
      <p:sp>
        <p:nvSpPr>
          <p:cNvPr id="3074" name="Rectangle 2"/>
          <p:cNvSpPr>
            <a:spLocks noGrp="1" noChangeArrowheads="1"/>
          </p:cNvSpPr>
          <p:nvPr>
            <p:ph type="ctrTitle"/>
          </p:nvPr>
        </p:nvSpPr>
        <p:spPr>
          <a:xfrm>
            <a:off x="2790833" y="3505202"/>
            <a:ext cx="5895975" cy="1046440"/>
          </a:xfrm>
        </p:spPr>
        <p:txBody>
          <a:bodyPr lIns="228130" bIns="0" anchor="t">
            <a:spAutoFit/>
          </a:bodyPr>
          <a:lstStyle>
            <a:lvl1pPr algn="r">
              <a:defRPr sz="3400">
                <a:solidFill>
                  <a:srgbClr val="006699"/>
                </a:solidFill>
              </a:defRPr>
            </a:lvl1pPr>
          </a:lstStyle>
          <a:p>
            <a:r>
              <a:rPr lang="en-US"/>
              <a:t>Click to edit Master title style</a:t>
            </a:r>
          </a:p>
        </p:txBody>
      </p:sp>
      <p:sp>
        <p:nvSpPr>
          <p:cNvPr id="13" name="TextBox 12"/>
          <p:cNvSpPr txBox="1"/>
          <p:nvPr userDrawn="1"/>
        </p:nvSpPr>
        <p:spPr>
          <a:xfrm>
            <a:off x="8" y="6553200"/>
            <a:ext cx="9140825" cy="261610"/>
          </a:xfrm>
          <a:prstGeom prst="rect">
            <a:avLst/>
          </a:prstGeom>
          <a:noFill/>
        </p:spPr>
        <p:txBody>
          <a:bodyPr wrap="square" rtlCol="0">
            <a:spAutoFit/>
          </a:bodyPr>
          <a:lstStyle/>
          <a:p>
            <a:pPr algn="ctr" defTabSz="912689"/>
            <a:r>
              <a:rPr lang="en-US" sz="1100">
                <a:solidFill>
                  <a:srgbClr val="FF0000"/>
                </a:solidFill>
              </a:rPr>
              <a:t>Internal &amp; Confidential</a:t>
            </a:r>
          </a:p>
        </p:txBody>
      </p:sp>
    </p:spTree>
    <p:extLst>
      <p:ext uri="{BB962C8B-B14F-4D97-AF65-F5344CB8AC3E}">
        <p14:creationId xmlns:p14="http://schemas.microsoft.com/office/powerpoint/2010/main" val="4173883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p:nvSpPr>
        <p:spPr>
          <a:xfrm>
            <a:off x="853122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3080990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84603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p:nvSpPr>
        <p:spPr>
          <a:xfrm>
            <a:off x="853122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13149872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2"/>
          <p:cNvSpPr txBox="1"/>
          <p:nvPr/>
        </p:nvSpPr>
        <p:spPr>
          <a:xfrm>
            <a:off x="860496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29977808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3" name="TextBox 2"/>
          <p:cNvSpPr txBox="1"/>
          <p:nvPr/>
        </p:nvSpPr>
        <p:spPr>
          <a:xfrm>
            <a:off x="853122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
        <p:nvSpPr>
          <p:cNvPr id="4" name="TextBox 3"/>
          <p:cNvSpPr txBox="1"/>
          <p:nvPr userDrawn="1"/>
        </p:nvSpPr>
        <p:spPr>
          <a:xfrm>
            <a:off x="8" y="6553200"/>
            <a:ext cx="9140825" cy="261610"/>
          </a:xfrm>
          <a:prstGeom prst="rect">
            <a:avLst/>
          </a:prstGeom>
          <a:noFill/>
        </p:spPr>
        <p:txBody>
          <a:bodyPr wrap="square" rtlCol="0">
            <a:spAutoFit/>
          </a:bodyPr>
          <a:lstStyle/>
          <a:p>
            <a:pPr algn="ctr" defTabSz="912689"/>
            <a:r>
              <a:rPr lang="en-US" sz="1100">
                <a:solidFill>
                  <a:srgbClr val="FF0000"/>
                </a:solidFill>
              </a:rPr>
              <a:t>Internal &amp; Confidential</a:t>
            </a:r>
          </a:p>
        </p:txBody>
      </p:sp>
    </p:spTree>
    <p:extLst>
      <p:ext uri="{BB962C8B-B14F-4D97-AF65-F5344CB8AC3E}">
        <p14:creationId xmlns:p14="http://schemas.microsoft.com/office/powerpoint/2010/main" val="41198649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Box 1"/>
          <p:cNvSpPr txBox="1"/>
          <p:nvPr/>
        </p:nvSpPr>
        <p:spPr>
          <a:xfrm>
            <a:off x="853122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2834880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extBox 1"/>
          <p:cNvSpPr txBox="1"/>
          <p:nvPr/>
        </p:nvSpPr>
        <p:spPr>
          <a:xfrm>
            <a:off x="853122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18020395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837596" y="76835"/>
            <a:ext cx="8078108" cy="608371"/>
          </a:xfrm>
        </p:spPr>
        <p:txBody>
          <a:bodyPr/>
          <a:lstStyle/>
          <a:p>
            <a:r>
              <a:rPr lang="en-US"/>
              <a:t>Click to edit Master title style</a:t>
            </a:r>
          </a:p>
        </p:txBody>
      </p:sp>
      <p:sp>
        <p:nvSpPr>
          <p:cNvPr id="3" name="Content Placeholder 2"/>
          <p:cNvSpPr>
            <a:spLocks noGrp="1"/>
          </p:cNvSpPr>
          <p:nvPr>
            <p:ph sz="half" idx="1"/>
          </p:nvPr>
        </p:nvSpPr>
        <p:spPr>
          <a:xfrm>
            <a:off x="388560" y="1083086"/>
            <a:ext cx="8374440" cy="2547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88560" y="3777741"/>
            <a:ext cx="8374440" cy="2547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p:nvSpPr>
        <p:spPr>
          <a:xfrm>
            <a:off x="853122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16777593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2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0690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Divider Slide">
    <p:spTree>
      <p:nvGrpSpPr>
        <p:cNvPr id="1" name=""/>
        <p:cNvGrpSpPr/>
        <p:nvPr/>
      </p:nvGrpSpPr>
      <p:grpSpPr>
        <a:xfrm>
          <a:off x="0" y="0"/>
          <a:ext cx="0" cy="0"/>
          <a:chOff x="0" y="0"/>
          <a:chExt cx="0" cy="0"/>
        </a:xfrm>
      </p:grpSpPr>
      <p:grpSp>
        <p:nvGrpSpPr>
          <p:cNvPr id="4" name="Group 55"/>
          <p:cNvGrpSpPr>
            <a:grpSpLocks/>
          </p:cNvGrpSpPr>
          <p:nvPr/>
        </p:nvGrpSpPr>
        <p:grpSpPr bwMode="auto">
          <a:xfrm>
            <a:off x="457221" y="2362200"/>
            <a:ext cx="817563" cy="838200"/>
            <a:chOff x="18142" y="955"/>
            <a:chExt cx="2084" cy="2140"/>
          </a:xfrm>
        </p:grpSpPr>
        <p:sp>
          <p:nvSpPr>
            <p:cNvPr id="5" name="Rectangle 56"/>
            <p:cNvSpPr>
              <a:spLocks noChangeArrowheads="1"/>
            </p:cNvSpPr>
            <p:nvPr/>
          </p:nvSpPr>
          <p:spPr bwMode="auto">
            <a:xfrm>
              <a:off x="18142" y="955"/>
              <a:ext cx="1870"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6" name="Freeform 57"/>
            <p:cNvSpPr>
              <a:spLocks/>
            </p:cNvSpPr>
            <p:nvPr/>
          </p:nvSpPr>
          <p:spPr bwMode="auto">
            <a:xfrm>
              <a:off x="19101" y="2390"/>
              <a:ext cx="397" cy="620"/>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7" name="Freeform 58"/>
            <p:cNvSpPr>
              <a:spLocks/>
            </p:cNvSpPr>
            <p:nvPr/>
          </p:nvSpPr>
          <p:spPr bwMode="auto">
            <a:xfrm>
              <a:off x="19222" y="2738"/>
              <a:ext cx="166" cy="170"/>
            </a:xfrm>
            <a:custGeom>
              <a:avLst/>
              <a:gdLst>
                <a:gd name="T0" fmla="*/ 0 w 336"/>
                <a:gd name="T1" fmla="*/ 0 h 343"/>
                <a:gd name="T2" fmla="*/ 0 w 336"/>
                <a:gd name="T3" fmla="*/ 0 h 343"/>
                <a:gd name="T4" fmla="*/ 0 w 336"/>
                <a:gd name="T5" fmla="*/ 0 h 343"/>
                <a:gd name="T6" fmla="*/ 0 w 336"/>
                <a:gd name="T7" fmla="*/ 0 h 343"/>
                <a:gd name="T8" fmla="*/ 0 w 336"/>
                <a:gd name="T9" fmla="*/ 0 h 343"/>
                <a:gd name="T10" fmla="*/ 0 w 336"/>
                <a:gd name="T11" fmla="*/ 0 h 343"/>
                <a:gd name="T12" fmla="*/ 0 w 336"/>
                <a:gd name="T13" fmla="*/ 0 h 343"/>
                <a:gd name="T14" fmla="*/ 0 w 336"/>
                <a:gd name="T15" fmla="*/ 0 h 343"/>
                <a:gd name="T16" fmla="*/ 0 w 336"/>
                <a:gd name="T17" fmla="*/ 0 h 343"/>
                <a:gd name="T18" fmla="*/ 0 w 336"/>
                <a:gd name="T19" fmla="*/ 0 h 343"/>
                <a:gd name="T20" fmla="*/ 0 w 336"/>
                <a:gd name="T21" fmla="*/ 0 h 343"/>
                <a:gd name="T22" fmla="*/ 0 w 336"/>
                <a:gd name="T23" fmla="*/ 0 h 343"/>
                <a:gd name="T24" fmla="*/ 0 w 336"/>
                <a:gd name="T25" fmla="*/ 0 h 343"/>
                <a:gd name="T26" fmla="*/ 0 w 336"/>
                <a:gd name="T27" fmla="*/ 0 h 343"/>
                <a:gd name="T28" fmla="*/ 0 w 336"/>
                <a:gd name="T29" fmla="*/ 0 h 343"/>
                <a:gd name="T30" fmla="*/ 0 w 336"/>
                <a:gd name="T31" fmla="*/ 0 h 343"/>
                <a:gd name="T32" fmla="*/ 0 w 336"/>
                <a:gd name="T33" fmla="*/ 0 h 343"/>
                <a:gd name="T34" fmla="*/ 0 w 336"/>
                <a:gd name="T35" fmla="*/ 0 h 343"/>
                <a:gd name="T36" fmla="*/ 0 w 336"/>
                <a:gd name="T37" fmla="*/ 0 h 343"/>
                <a:gd name="T38" fmla="*/ 0 w 336"/>
                <a:gd name="T39" fmla="*/ 0 h 343"/>
                <a:gd name="T40" fmla="*/ 0 w 336"/>
                <a:gd name="T41" fmla="*/ 0 h 343"/>
                <a:gd name="T42" fmla="*/ 0 w 336"/>
                <a:gd name="T43" fmla="*/ 0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8" name="Freeform 59"/>
            <p:cNvSpPr>
              <a:spLocks/>
            </p:cNvSpPr>
            <p:nvPr/>
          </p:nvSpPr>
          <p:spPr bwMode="auto">
            <a:xfrm>
              <a:off x="19538" y="1036"/>
              <a:ext cx="393" cy="1982"/>
            </a:xfrm>
            <a:custGeom>
              <a:avLst/>
              <a:gdLst>
                <a:gd name="T0" fmla="*/ 0 w 785"/>
                <a:gd name="T1" fmla="*/ 0 h 3959"/>
                <a:gd name="T2" fmla="*/ 0 w 785"/>
                <a:gd name="T3" fmla="*/ 1 h 3959"/>
                <a:gd name="T4" fmla="*/ 1 w 785"/>
                <a:gd name="T5" fmla="*/ 1 h 3959"/>
                <a:gd name="T6" fmla="*/ 1 w 785"/>
                <a:gd name="T7" fmla="*/ 1 h 3959"/>
                <a:gd name="T8" fmla="*/ 1 w 785"/>
                <a:gd name="T9" fmla="*/ 1 h 3959"/>
                <a:gd name="T10" fmla="*/ 1 w 785"/>
                <a:gd name="T11" fmla="*/ 1 h 3959"/>
                <a:gd name="T12" fmla="*/ 1 w 785"/>
                <a:gd name="T13" fmla="*/ 1 h 3959"/>
                <a:gd name="T14" fmla="*/ 1 w 785"/>
                <a:gd name="T15" fmla="*/ 1 h 3959"/>
                <a:gd name="T16" fmla="*/ 1 w 785"/>
                <a:gd name="T17" fmla="*/ 1 h 3959"/>
                <a:gd name="T18" fmla="*/ 1 w 785"/>
                <a:gd name="T19" fmla="*/ 1 h 3959"/>
                <a:gd name="T20" fmla="*/ 1 w 785"/>
                <a:gd name="T21" fmla="*/ 1 h 3959"/>
                <a:gd name="T22" fmla="*/ 1 w 785"/>
                <a:gd name="T23" fmla="*/ 1 h 3959"/>
                <a:gd name="T24" fmla="*/ 1 w 785"/>
                <a:gd name="T25" fmla="*/ 1 h 3959"/>
                <a:gd name="T26" fmla="*/ 1 w 785"/>
                <a:gd name="T27" fmla="*/ 1 h 3959"/>
                <a:gd name="T28" fmla="*/ 1 w 785"/>
                <a:gd name="T29" fmla="*/ 1 h 3959"/>
                <a:gd name="T30" fmla="*/ 1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9" name="Freeform 60"/>
            <p:cNvSpPr>
              <a:spLocks/>
            </p:cNvSpPr>
            <p:nvPr/>
          </p:nvSpPr>
          <p:spPr bwMode="auto">
            <a:xfrm>
              <a:off x="18421" y="2398"/>
              <a:ext cx="77" cy="219"/>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1 w 152"/>
                <a:gd name="T17" fmla="*/ 1 h 435"/>
                <a:gd name="T18" fmla="*/ 1 w 152"/>
                <a:gd name="T19" fmla="*/ 1 h 435"/>
                <a:gd name="T20" fmla="*/ 1 w 152"/>
                <a:gd name="T21" fmla="*/ 1 h 435"/>
                <a:gd name="T22" fmla="*/ 1 w 152"/>
                <a:gd name="T23" fmla="*/ 1 h 435"/>
                <a:gd name="T24" fmla="*/ 1 w 152"/>
                <a:gd name="T25" fmla="*/ 1 h 435"/>
                <a:gd name="T26" fmla="*/ 1 w 152"/>
                <a:gd name="T27" fmla="*/ 1 h 435"/>
                <a:gd name="T28" fmla="*/ 1 w 152"/>
                <a:gd name="T29" fmla="*/ 1 h 435"/>
                <a:gd name="T30" fmla="*/ 1 w 152"/>
                <a:gd name="T31" fmla="*/ 1 h 435"/>
                <a:gd name="T32" fmla="*/ 1 w 152"/>
                <a:gd name="T33" fmla="*/ 1 h 435"/>
                <a:gd name="T34" fmla="*/ 1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 name="Freeform 61"/>
            <p:cNvSpPr>
              <a:spLocks/>
            </p:cNvSpPr>
            <p:nvPr/>
          </p:nvSpPr>
          <p:spPr bwMode="auto">
            <a:xfrm>
              <a:off x="18223" y="1036"/>
              <a:ext cx="1307" cy="1982"/>
            </a:xfrm>
            <a:custGeom>
              <a:avLst/>
              <a:gdLst>
                <a:gd name="T0" fmla="*/ 0 w 2616"/>
                <a:gd name="T1" fmla="*/ 0 h 3962"/>
                <a:gd name="T2" fmla="*/ 0 w 2616"/>
                <a:gd name="T3" fmla="*/ 1 h 3962"/>
                <a:gd name="T4" fmla="*/ 0 w 2616"/>
                <a:gd name="T5" fmla="*/ 1 h 3962"/>
                <a:gd name="T6" fmla="*/ 0 w 2616"/>
                <a:gd name="T7" fmla="*/ 1 h 3962"/>
                <a:gd name="T8" fmla="*/ 0 w 2616"/>
                <a:gd name="T9" fmla="*/ 1 h 3962"/>
                <a:gd name="T10" fmla="*/ 0 w 2616"/>
                <a:gd name="T11" fmla="*/ 1 h 3962"/>
                <a:gd name="T12" fmla="*/ 0 w 2616"/>
                <a:gd name="T13" fmla="*/ 1 h 3962"/>
                <a:gd name="T14" fmla="*/ 0 w 2616"/>
                <a:gd name="T15" fmla="*/ 1 h 3962"/>
                <a:gd name="T16" fmla="*/ 0 w 2616"/>
                <a:gd name="T17" fmla="*/ 1 h 3962"/>
                <a:gd name="T18" fmla="*/ 0 w 2616"/>
                <a:gd name="T19" fmla="*/ 1 h 3962"/>
                <a:gd name="T20" fmla="*/ 0 w 2616"/>
                <a:gd name="T21" fmla="*/ 1 h 3962"/>
                <a:gd name="T22" fmla="*/ 0 w 2616"/>
                <a:gd name="T23" fmla="*/ 1 h 3962"/>
                <a:gd name="T24" fmla="*/ 0 w 2616"/>
                <a:gd name="T25" fmla="*/ 1 h 3962"/>
                <a:gd name="T26" fmla="*/ 0 w 2616"/>
                <a:gd name="T27" fmla="*/ 1 h 3962"/>
                <a:gd name="T28" fmla="*/ 0 w 2616"/>
                <a:gd name="T29" fmla="*/ 1 h 3962"/>
                <a:gd name="T30" fmla="*/ 0 w 2616"/>
                <a:gd name="T31" fmla="*/ 1 h 3962"/>
                <a:gd name="T32" fmla="*/ 0 w 2616"/>
                <a:gd name="T33" fmla="*/ 1 h 3962"/>
                <a:gd name="T34" fmla="*/ 0 w 2616"/>
                <a:gd name="T35" fmla="*/ 1 h 3962"/>
                <a:gd name="T36" fmla="*/ 0 w 2616"/>
                <a:gd name="T37" fmla="*/ 1 h 3962"/>
                <a:gd name="T38" fmla="*/ 0 w 2616"/>
                <a:gd name="T39" fmla="*/ 1 h 3962"/>
                <a:gd name="T40" fmla="*/ 0 w 2616"/>
                <a:gd name="T41" fmla="*/ 1 h 3962"/>
                <a:gd name="T42" fmla="*/ 0 w 2616"/>
                <a:gd name="T43" fmla="*/ 1 h 3962"/>
                <a:gd name="T44" fmla="*/ 0 w 2616"/>
                <a:gd name="T45" fmla="*/ 1 h 3962"/>
                <a:gd name="T46" fmla="*/ 0 w 2616"/>
                <a:gd name="T47" fmla="*/ 1 h 3962"/>
                <a:gd name="T48" fmla="*/ 0 w 2616"/>
                <a:gd name="T49" fmla="*/ 1 h 3962"/>
                <a:gd name="T50" fmla="*/ 0 w 2616"/>
                <a:gd name="T51" fmla="*/ 1 h 3962"/>
                <a:gd name="T52" fmla="*/ 0 w 2616"/>
                <a:gd name="T53" fmla="*/ 1 h 3962"/>
                <a:gd name="T54" fmla="*/ 0 w 2616"/>
                <a:gd name="T55" fmla="*/ 1 h 3962"/>
                <a:gd name="T56" fmla="*/ 0 w 2616"/>
                <a:gd name="T57" fmla="*/ 1 h 3962"/>
                <a:gd name="T58" fmla="*/ 0 w 2616"/>
                <a:gd name="T59" fmla="*/ 1 h 3962"/>
                <a:gd name="T60" fmla="*/ 0 w 2616"/>
                <a:gd name="T61" fmla="*/ 1 h 3962"/>
                <a:gd name="T62" fmla="*/ 0 w 2616"/>
                <a:gd name="T63" fmla="*/ 1 h 3962"/>
                <a:gd name="T64" fmla="*/ 0 w 2616"/>
                <a:gd name="T65" fmla="*/ 1 h 3962"/>
                <a:gd name="T66" fmla="*/ 0 w 2616"/>
                <a:gd name="T67" fmla="*/ 1 h 3962"/>
                <a:gd name="T68" fmla="*/ 0 w 2616"/>
                <a:gd name="T69" fmla="*/ 1 h 3962"/>
                <a:gd name="T70" fmla="*/ 0 w 2616"/>
                <a:gd name="T71" fmla="*/ 1 h 3962"/>
                <a:gd name="T72" fmla="*/ 0 w 2616"/>
                <a:gd name="T73" fmla="*/ 1 h 3962"/>
                <a:gd name="T74" fmla="*/ 0 w 2616"/>
                <a:gd name="T75" fmla="*/ 1 h 3962"/>
                <a:gd name="T76" fmla="*/ 0 w 2616"/>
                <a:gd name="T77" fmla="*/ 1 h 3962"/>
                <a:gd name="T78" fmla="*/ 0 w 2616"/>
                <a:gd name="T79" fmla="*/ 1 h 3962"/>
                <a:gd name="T80" fmla="*/ 0 w 2616"/>
                <a:gd name="T81" fmla="*/ 1 h 3962"/>
                <a:gd name="T82" fmla="*/ 0 w 2616"/>
                <a:gd name="T83" fmla="*/ 1 h 3962"/>
                <a:gd name="T84" fmla="*/ 0 w 2616"/>
                <a:gd name="T85" fmla="*/ 1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1" name="Freeform 62"/>
            <p:cNvSpPr>
              <a:spLocks noEditPoints="1"/>
            </p:cNvSpPr>
            <p:nvPr/>
          </p:nvSpPr>
          <p:spPr bwMode="auto">
            <a:xfrm>
              <a:off x="19995" y="1044"/>
              <a:ext cx="231" cy="231"/>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grpSp>
      <p:sp>
        <p:nvSpPr>
          <p:cNvPr id="12" name="Line 2"/>
          <p:cNvSpPr>
            <a:spLocks noChangeShapeType="1"/>
          </p:cNvSpPr>
          <p:nvPr/>
        </p:nvSpPr>
        <p:spPr bwMode="auto">
          <a:xfrm>
            <a:off x="8" y="3429000"/>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3151" name="Rectangle 79"/>
          <p:cNvSpPr>
            <a:spLocks noGrp="1" noChangeArrowheads="1"/>
          </p:cNvSpPr>
          <p:nvPr>
            <p:ph type="subTitle" idx="1"/>
          </p:nvPr>
        </p:nvSpPr>
        <p:spPr>
          <a:xfrm>
            <a:off x="2806700" y="4724400"/>
            <a:ext cx="5867400" cy="762000"/>
          </a:xfrm>
        </p:spPr>
        <p:txBody>
          <a:bodyPr lIns="228174"/>
          <a:lstStyle>
            <a:lvl1pPr algn="r">
              <a:defRPr b="0" cap="all" baseline="0">
                <a:solidFill>
                  <a:srgbClr val="006699"/>
                </a:solidFill>
              </a:defRPr>
            </a:lvl1pPr>
          </a:lstStyle>
          <a:p>
            <a:r>
              <a:rPr lang="en-US"/>
              <a:t>Click to edit Master subtitle style</a:t>
            </a:r>
          </a:p>
        </p:txBody>
      </p:sp>
      <p:sp>
        <p:nvSpPr>
          <p:cNvPr id="3074" name="Rectangle 2"/>
          <p:cNvSpPr>
            <a:spLocks noGrp="1" noChangeArrowheads="1"/>
          </p:cNvSpPr>
          <p:nvPr>
            <p:ph type="ctrTitle"/>
          </p:nvPr>
        </p:nvSpPr>
        <p:spPr>
          <a:xfrm>
            <a:off x="2790833" y="3505202"/>
            <a:ext cx="5895975" cy="1046440"/>
          </a:xfrm>
        </p:spPr>
        <p:txBody>
          <a:bodyPr lIns="228130" bIns="0" anchor="t">
            <a:spAutoFit/>
          </a:bodyPr>
          <a:lstStyle>
            <a:lvl1pPr algn="r">
              <a:defRPr sz="3400">
                <a:solidFill>
                  <a:srgbClr val="006699"/>
                </a:solidFill>
              </a:defRPr>
            </a:lvl1pPr>
          </a:lstStyle>
          <a:p>
            <a:r>
              <a:rPr lang="en-US"/>
              <a:t>Click to edit Master title style</a:t>
            </a:r>
          </a:p>
        </p:txBody>
      </p:sp>
    </p:spTree>
    <p:extLst>
      <p:ext uri="{BB962C8B-B14F-4D97-AF65-F5344CB8AC3E}">
        <p14:creationId xmlns:p14="http://schemas.microsoft.com/office/powerpoint/2010/main" val="41201866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00383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6180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14457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70128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extBox 1"/>
          <p:cNvSpPr txBox="1"/>
          <p:nvPr userDrawn="1"/>
        </p:nvSpPr>
        <p:spPr>
          <a:xfrm>
            <a:off x="8" y="6553200"/>
            <a:ext cx="9140825" cy="261610"/>
          </a:xfrm>
          <a:prstGeom prst="rect">
            <a:avLst/>
          </a:prstGeom>
          <a:noFill/>
        </p:spPr>
        <p:txBody>
          <a:bodyPr wrap="square" rtlCol="0">
            <a:spAutoFit/>
          </a:bodyPr>
          <a:lstStyle/>
          <a:p>
            <a:pPr algn="ctr" defTabSz="912689"/>
            <a:r>
              <a:rPr lang="en-US" sz="1100">
                <a:solidFill>
                  <a:srgbClr val="FF0000"/>
                </a:solidFill>
              </a:rPr>
              <a:t>Internal &amp; Confidential</a:t>
            </a:r>
          </a:p>
        </p:txBody>
      </p:sp>
    </p:spTree>
    <p:extLst>
      <p:ext uri="{BB962C8B-B14F-4D97-AF65-F5344CB8AC3E}">
        <p14:creationId xmlns:p14="http://schemas.microsoft.com/office/powerpoint/2010/main" val="26243688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6101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837596" y="76835"/>
            <a:ext cx="8078108" cy="608371"/>
          </a:xfrm>
        </p:spPr>
        <p:txBody>
          <a:bodyPr/>
          <a:lstStyle/>
          <a:p>
            <a:r>
              <a:rPr lang="en-US"/>
              <a:t>Click to edit Master title style</a:t>
            </a:r>
          </a:p>
        </p:txBody>
      </p:sp>
      <p:sp>
        <p:nvSpPr>
          <p:cNvPr id="3" name="Content Placeholder 2"/>
          <p:cNvSpPr>
            <a:spLocks noGrp="1"/>
          </p:cNvSpPr>
          <p:nvPr>
            <p:ph sz="half" idx="1"/>
          </p:nvPr>
        </p:nvSpPr>
        <p:spPr>
          <a:xfrm>
            <a:off x="388560" y="1083086"/>
            <a:ext cx="8374440" cy="2547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88560" y="3777741"/>
            <a:ext cx="8374440" cy="2547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13376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7897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93" y="1594"/>
          <a:ext cx="1587" cy="1587"/>
        </p:xfrm>
        <a:graphic>
          <a:graphicData uri="http://schemas.openxmlformats.org/presentationml/2006/ole">
            <mc:AlternateContent xmlns:mc="http://schemas.openxmlformats.org/markup-compatibility/2006">
              <mc:Choice xmlns:v="urn:schemas-microsoft-com:vml" Requires="v">
                <p:oleObj spid="_x0000_s53249" name="think-cell Slide" r:id="rId4" imgW="360" imgH="360" progId="TCLayout.ActiveDocument.1">
                  <p:embed/>
                </p:oleObj>
              </mc:Choice>
              <mc:Fallback>
                <p:oleObj name="think-cell Slide" r:id="rId4" imgW="360" imgH="360" progId="TCLayout.ActiveDocument.1">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3"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0" descr="PGE_SpotlightLogobl_PPT"/>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00" y="71442"/>
            <a:ext cx="6096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8"/>
          <p:cNvSpPr txBox="1">
            <a:spLocks noChangeArrowheads="1"/>
          </p:cNvSpPr>
          <p:nvPr userDrawn="1"/>
        </p:nvSpPr>
        <p:spPr bwMode="auto">
          <a:xfrm>
            <a:off x="6688139" y="6640514"/>
            <a:ext cx="2455862" cy="222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lnSpc>
                <a:spcPct val="90000"/>
              </a:lnSpc>
              <a:spcBef>
                <a:spcPct val="0"/>
              </a:spcBef>
              <a:spcAft>
                <a:spcPct val="0"/>
              </a:spcAft>
              <a:defRPr/>
            </a:pPr>
            <a:fld id="{9600B41A-C644-4388-BFA3-08084F5E804D}" type="slidenum">
              <a:rPr lang="en-US" sz="900" smtClean="0">
                <a:solidFill>
                  <a:srgbClr val="0082AA"/>
                </a:solidFill>
              </a:rPr>
              <a:pPr algn="r" defTabSz="913953" eaLnBrk="1" fontAlgn="base" hangingPunct="1">
                <a:lnSpc>
                  <a:spcPct val="90000"/>
                </a:lnSpc>
                <a:spcBef>
                  <a:spcPct val="0"/>
                </a:spcBef>
                <a:spcAft>
                  <a:spcPct val="0"/>
                </a:spcAft>
                <a:defRPr/>
              </a:pPr>
              <a:t>‹#›</a:t>
            </a:fld>
            <a:r>
              <a:rPr lang="en-US" sz="900">
                <a:solidFill>
                  <a:srgbClr val="0082AA"/>
                </a:solidFill>
              </a:rPr>
              <a:t> </a:t>
            </a:r>
          </a:p>
        </p:txBody>
      </p:sp>
      <p:sp>
        <p:nvSpPr>
          <p:cNvPr id="8" name="Footer Placeholder 4"/>
          <p:cNvSpPr>
            <a:spLocks noGrp="1"/>
          </p:cNvSpPr>
          <p:nvPr userDrawn="1"/>
        </p:nvSpPr>
        <p:spPr>
          <a:xfrm>
            <a:off x="2286000" y="6503993"/>
            <a:ext cx="4389438" cy="365125"/>
          </a:xfrm>
          <a:prstGeom prst="rect">
            <a:avLst/>
          </a:prstGeom>
        </p:spPr>
        <p:txBody>
          <a:bodyPr lIns="91395" tIns="45699" rIns="91395" bIns="45699"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800" i="1">
                <a:solidFill>
                  <a:srgbClr val="0082AA"/>
                </a:solidFill>
                <a:latin typeface="Calibri" pitchFamily="34" charset="0"/>
                <a:cs typeface="Calibri" pitchFamily="34" charset="0"/>
              </a:rPr>
              <a:t>For Internal Discussion Purposes Only</a:t>
            </a:r>
          </a:p>
        </p:txBody>
      </p:sp>
      <p:cxnSp>
        <p:nvCxnSpPr>
          <p:cNvPr id="9" name="Straight Connector 8"/>
          <p:cNvCxnSpPr/>
          <p:nvPr userDrawn="1"/>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sp>
        <p:nvSpPr>
          <p:cNvPr id="10" name="Rectangle 2"/>
          <p:cNvSpPr txBox="1">
            <a:spLocks noChangeArrowheads="1"/>
          </p:cNvSpPr>
          <p:nvPr userDrawn="1"/>
        </p:nvSpPr>
        <p:spPr bwMode="auto">
          <a:xfrm rot="19742967">
            <a:off x="2357438" y="2124115"/>
            <a:ext cx="7620000" cy="1107996"/>
          </a:xfrm>
          <a:prstGeom prst="rect">
            <a:avLst/>
          </a:prstGeom>
          <a:noFill/>
          <a:ln w="9525">
            <a:noFill/>
            <a:miter lim="800000"/>
            <a:headEnd/>
            <a:tailEnd/>
          </a:ln>
        </p:spPr>
        <p:txBody>
          <a:bodyPr lIns="0" tIns="0" rIns="0" bIns="0">
            <a:spAutoFit/>
          </a:bodyPr>
          <a:lstStyle>
            <a:lvl1pPr algn="l" rtl="0" eaLnBrk="0" fontAlgn="base" hangingPunct="0">
              <a:lnSpc>
                <a:spcPct val="90000"/>
              </a:lnSpc>
              <a:spcBef>
                <a:spcPct val="0"/>
              </a:spcBef>
              <a:spcAft>
                <a:spcPct val="0"/>
              </a:spcAft>
              <a:defRPr sz="8000" b="1">
                <a:solidFill>
                  <a:schemeClr val="bg1">
                    <a:lumMod val="85000"/>
                  </a:schemeClr>
                </a:solidFill>
                <a:latin typeface="Arial" charset="0"/>
                <a:ea typeface="ヒラギノ角ゴ Pro W3" pitchFamily="97" charset="-128"/>
                <a:cs typeface="ヒラギノ角ゴ Pro W3" pitchFamily="97" charset="-128"/>
              </a:defRPr>
            </a:lvl1pPr>
            <a:lvl2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2pPr>
            <a:lvl3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3pPr>
            <a:lvl4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4pPr>
            <a:lvl5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5pPr>
            <a:lvl6pPr marL="457200" algn="l" rtl="0" fontAlgn="base">
              <a:lnSpc>
                <a:spcPct val="80000"/>
              </a:lnSpc>
              <a:spcBef>
                <a:spcPct val="0"/>
              </a:spcBef>
              <a:spcAft>
                <a:spcPct val="0"/>
              </a:spcAft>
              <a:defRPr sz="4800">
                <a:solidFill>
                  <a:srgbClr val="FCB131"/>
                </a:solidFill>
                <a:latin typeface="Franklin Gothic Medium" pitchFamily="34" charset="0"/>
              </a:defRPr>
            </a:lvl6pPr>
            <a:lvl7pPr marL="914400" algn="l" rtl="0" fontAlgn="base">
              <a:lnSpc>
                <a:spcPct val="80000"/>
              </a:lnSpc>
              <a:spcBef>
                <a:spcPct val="0"/>
              </a:spcBef>
              <a:spcAft>
                <a:spcPct val="0"/>
              </a:spcAft>
              <a:defRPr sz="4800">
                <a:solidFill>
                  <a:srgbClr val="FCB131"/>
                </a:solidFill>
                <a:latin typeface="Franklin Gothic Medium" pitchFamily="34" charset="0"/>
              </a:defRPr>
            </a:lvl7pPr>
            <a:lvl8pPr marL="1371600" algn="l" rtl="0" fontAlgn="base">
              <a:lnSpc>
                <a:spcPct val="80000"/>
              </a:lnSpc>
              <a:spcBef>
                <a:spcPct val="0"/>
              </a:spcBef>
              <a:spcAft>
                <a:spcPct val="0"/>
              </a:spcAft>
              <a:defRPr sz="4800">
                <a:solidFill>
                  <a:srgbClr val="FCB131"/>
                </a:solidFill>
                <a:latin typeface="Franklin Gothic Medium" pitchFamily="34" charset="0"/>
              </a:defRPr>
            </a:lvl8pPr>
            <a:lvl9pPr marL="1828800" algn="l" rtl="0" fontAlgn="base">
              <a:lnSpc>
                <a:spcPct val="80000"/>
              </a:lnSpc>
              <a:spcBef>
                <a:spcPct val="0"/>
              </a:spcBef>
              <a:spcAft>
                <a:spcPct val="0"/>
              </a:spcAft>
              <a:defRPr sz="4800">
                <a:solidFill>
                  <a:srgbClr val="FCB131"/>
                </a:solidFill>
                <a:latin typeface="Franklin Gothic Medium" pitchFamily="34" charset="0"/>
              </a:defRPr>
            </a:lvl9pPr>
          </a:lstStyle>
          <a:p>
            <a:pPr defTabSz="913953">
              <a:defRPr/>
            </a:pPr>
            <a:r>
              <a:rPr lang="en-US">
                <a:solidFill>
                  <a:srgbClr val="FFFFFF">
                    <a:lumMod val="85000"/>
                  </a:srgbClr>
                </a:solidFill>
              </a:rPr>
              <a:t>D R A F T</a:t>
            </a:r>
          </a:p>
        </p:txBody>
      </p:sp>
      <p:sp>
        <p:nvSpPr>
          <p:cNvPr id="11" name="TextBox 3"/>
          <p:cNvSpPr txBox="1">
            <a:spLocks noChangeArrowheads="1"/>
          </p:cNvSpPr>
          <p:nvPr userDrawn="1"/>
        </p:nvSpPr>
        <p:spPr bwMode="auto">
          <a:xfrm>
            <a:off x="5638800" y="18"/>
            <a:ext cx="3505200" cy="28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spcBef>
                <a:spcPct val="0"/>
              </a:spcBef>
              <a:spcAft>
                <a:spcPct val="0"/>
              </a:spcAft>
              <a:defRPr/>
            </a:pPr>
            <a:r>
              <a:rPr lang="en-US" sz="1200" b="1">
                <a:solidFill>
                  <a:srgbClr val="FF0000"/>
                </a:solidFill>
              </a:rPr>
              <a:t>Draft Dec 19 2012</a:t>
            </a:r>
          </a:p>
        </p:txBody>
      </p:sp>
      <p:sp>
        <p:nvSpPr>
          <p:cNvPr id="2" name="Title 1"/>
          <p:cNvSpPr>
            <a:spLocks noGrp="1"/>
          </p:cNvSpPr>
          <p:nvPr>
            <p:ph type="title"/>
          </p:nvPr>
        </p:nvSpPr>
        <p:spPr>
          <a:xfrm rot="19742967">
            <a:off x="2205038" y="1971682"/>
            <a:ext cx="7620000" cy="1108075"/>
          </a:xfrm>
          <a:prstGeom prst="rect">
            <a:avLst/>
          </a:prstGeom>
        </p:spPr>
        <p:txBody>
          <a:bodyPr lIns="91395" tIns="45699" rIns="91395" bIns="45699"/>
          <a:lstStyle/>
          <a:p>
            <a:r>
              <a:rPr lang="en-US"/>
              <a:t>Click to edit Master title style</a:t>
            </a:r>
          </a:p>
        </p:txBody>
      </p:sp>
      <p:sp>
        <p:nvSpPr>
          <p:cNvPr id="3" name="Content Placeholder 2"/>
          <p:cNvSpPr>
            <a:spLocks noGrp="1"/>
          </p:cNvSpPr>
          <p:nvPr>
            <p:ph sz="half" idx="1"/>
          </p:nvPr>
        </p:nvSpPr>
        <p:spPr>
          <a:xfrm>
            <a:off x="2514605" y="2286005"/>
            <a:ext cx="3009900" cy="1117229"/>
          </a:xfrm>
          <a:prstGeom prst="rect">
            <a:avLst/>
          </a:prstGeom>
        </p:spPr>
        <p:txBody>
          <a:bodyPr lIns="91395" tIns="45699" rIns="91395" bIns="45699"/>
          <a:lstStyle>
            <a:lvl1pPr marL="0" indent="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676900" y="2286005"/>
            <a:ext cx="3009900" cy="1117229"/>
          </a:xfrm>
          <a:prstGeom prst="rect">
            <a:avLst/>
          </a:prstGeom>
        </p:spPr>
        <p:txBody>
          <a:bodyPr lIns="91395" tIns="45699" rIns="91395" bIns="45699"/>
          <a:lstStyle>
            <a:lvl1pPr marL="0" indent="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91565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1593" y="1594"/>
          <a:ext cx="1587" cy="1587"/>
        </p:xfrm>
        <a:graphic>
          <a:graphicData uri="http://schemas.openxmlformats.org/presentationml/2006/ole">
            <mc:AlternateContent xmlns:mc="http://schemas.openxmlformats.org/markup-compatibility/2006">
              <mc:Choice xmlns:v="urn:schemas-microsoft-com:vml" Requires="v">
                <p:oleObj spid="_x0000_s54273" name="think-cell Slide" r:id="rId4" imgW="360" imgH="360" progId="TCLayout.ActiveDocument.1">
                  <p:embed/>
                </p:oleObj>
              </mc:Choice>
              <mc:Fallback>
                <p:oleObj name="think-cell Slide"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3"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10" descr="PGE_SpotlightLogobl_PPT"/>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00" y="71442"/>
            <a:ext cx="6096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8"/>
          <p:cNvSpPr txBox="1">
            <a:spLocks noChangeArrowheads="1"/>
          </p:cNvSpPr>
          <p:nvPr userDrawn="1"/>
        </p:nvSpPr>
        <p:spPr bwMode="auto">
          <a:xfrm>
            <a:off x="6688139" y="6640514"/>
            <a:ext cx="2455862" cy="222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lnSpc>
                <a:spcPct val="90000"/>
              </a:lnSpc>
              <a:spcBef>
                <a:spcPct val="0"/>
              </a:spcBef>
              <a:spcAft>
                <a:spcPct val="0"/>
              </a:spcAft>
              <a:defRPr/>
            </a:pPr>
            <a:fld id="{906FD8AC-4AA5-4220-BEEC-E8B0B580D516}" type="slidenum">
              <a:rPr lang="en-US" sz="900" smtClean="0">
                <a:solidFill>
                  <a:srgbClr val="0082AA"/>
                </a:solidFill>
              </a:rPr>
              <a:pPr algn="r" defTabSz="913953" eaLnBrk="1" fontAlgn="base" hangingPunct="1">
                <a:lnSpc>
                  <a:spcPct val="90000"/>
                </a:lnSpc>
                <a:spcBef>
                  <a:spcPct val="0"/>
                </a:spcBef>
                <a:spcAft>
                  <a:spcPct val="0"/>
                </a:spcAft>
                <a:defRPr/>
              </a:pPr>
              <a:t>‹#›</a:t>
            </a:fld>
            <a:r>
              <a:rPr lang="en-US" sz="900">
                <a:solidFill>
                  <a:srgbClr val="0082AA"/>
                </a:solidFill>
              </a:rPr>
              <a:t> </a:t>
            </a:r>
          </a:p>
        </p:txBody>
      </p:sp>
      <p:sp>
        <p:nvSpPr>
          <p:cNvPr id="6" name="Footer Placeholder 4"/>
          <p:cNvSpPr>
            <a:spLocks noGrp="1"/>
          </p:cNvSpPr>
          <p:nvPr userDrawn="1"/>
        </p:nvSpPr>
        <p:spPr>
          <a:xfrm>
            <a:off x="2286000" y="6503993"/>
            <a:ext cx="4389438" cy="365125"/>
          </a:xfrm>
          <a:prstGeom prst="rect">
            <a:avLst/>
          </a:prstGeom>
        </p:spPr>
        <p:txBody>
          <a:bodyPr lIns="91395" tIns="45699" rIns="91395" bIns="45699"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800" i="1">
                <a:solidFill>
                  <a:srgbClr val="0082AA"/>
                </a:solidFill>
                <a:latin typeface="Calibri" pitchFamily="34" charset="0"/>
                <a:cs typeface="Calibri" pitchFamily="34" charset="0"/>
              </a:rPr>
              <a:t>For Internal Discussion Purposes Only</a:t>
            </a:r>
          </a:p>
        </p:txBody>
      </p:sp>
      <p:cxnSp>
        <p:nvCxnSpPr>
          <p:cNvPr id="7" name="Straight Connector 6"/>
          <p:cNvCxnSpPr/>
          <p:nvPr userDrawn="1"/>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sp>
        <p:nvSpPr>
          <p:cNvPr id="8" name="Rectangle 2"/>
          <p:cNvSpPr txBox="1">
            <a:spLocks noChangeArrowheads="1"/>
          </p:cNvSpPr>
          <p:nvPr userDrawn="1"/>
        </p:nvSpPr>
        <p:spPr bwMode="auto">
          <a:xfrm rot="19742967">
            <a:off x="2357438" y="2124115"/>
            <a:ext cx="7620000" cy="1107996"/>
          </a:xfrm>
          <a:prstGeom prst="rect">
            <a:avLst/>
          </a:prstGeom>
          <a:noFill/>
          <a:ln w="9525">
            <a:noFill/>
            <a:miter lim="800000"/>
            <a:headEnd/>
            <a:tailEnd/>
          </a:ln>
        </p:spPr>
        <p:txBody>
          <a:bodyPr lIns="0" tIns="0" rIns="0" bIns="0">
            <a:spAutoFit/>
          </a:bodyPr>
          <a:lstStyle>
            <a:lvl1pPr algn="l" rtl="0" eaLnBrk="0" fontAlgn="base" hangingPunct="0">
              <a:lnSpc>
                <a:spcPct val="90000"/>
              </a:lnSpc>
              <a:spcBef>
                <a:spcPct val="0"/>
              </a:spcBef>
              <a:spcAft>
                <a:spcPct val="0"/>
              </a:spcAft>
              <a:defRPr sz="8000" b="1">
                <a:solidFill>
                  <a:schemeClr val="bg1">
                    <a:lumMod val="85000"/>
                  </a:schemeClr>
                </a:solidFill>
                <a:latin typeface="Arial" charset="0"/>
                <a:ea typeface="ヒラギノ角ゴ Pro W3" pitchFamily="97" charset="-128"/>
                <a:cs typeface="ヒラギノ角ゴ Pro W3" pitchFamily="97" charset="-128"/>
              </a:defRPr>
            </a:lvl1pPr>
            <a:lvl2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2pPr>
            <a:lvl3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3pPr>
            <a:lvl4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4pPr>
            <a:lvl5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5pPr>
            <a:lvl6pPr marL="457200" algn="l" rtl="0" fontAlgn="base">
              <a:lnSpc>
                <a:spcPct val="80000"/>
              </a:lnSpc>
              <a:spcBef>
                <a:spcPct val="0"/>
              </a:spcBef>
              <a:spcAft>
                <a:spcPct val="0"/>
              </a:spcAft>
              <a:defRPr sz="4800">
                <a:solidFill>
                  <a:srgbClr val="FCB131"/>
                </a:solidFill>
                <a:latin typeface="Franklin Gothic Medium" pitchFamily="34" charset="0"/>
              </a:defRPr>
            </a:lvl6pPr>
            <a:lvl7pPr marL="914400" algn="l" rtl="0" fontAlgn="base">
              <a:lnSpc>
                <a:spcPct val="80000"/>
              </a:lnSpc>
              <a:spcBef>
                <a:spcPct val="0"/>
              </a:spcBef>
              <a:spcAft>
                <a:spcPct val="0"/>
              </a:spcAft>
              <a:defRPr sz="4800">
                <a:solidFill>
                  <a:srgbClr val="FCB131"/>
                </a:solidFill>
                <a:latin typeface="Franklin Gothic Medium" pitchFamily="34" charset="0"/>
              </a:defRPr>
            </a:lvl7pPr>
            <a:lvl8pPr marL="1371600" algn="l" rtl="0" fontAlgn="base">
              <a:lnSpc>
                <a:spcPct val="80000"/>
              </a:lnSpc>
              <a:spcBef>
                <a:spcPct val="0"/>
              </a:spcBef>
              <a:spcAft>
                <a:spcPct val="0"/>
              </a:spcAft>
              <a:defRPr sz="4800">
                <a:solidFill>
                  <a:srgbClr val="FCB131"/>
                </a:solidFill>
                <a:latin typeface="Franklin Gothic Medium" pitchFamily="34" charset="0"/>
              </a:defRPr>
            </a:lvl8pPr>
            <a:lvl9pPr marL="1828800" algn="l" rtl="0" fontAlgn="base">
              <a:lnSpc>
                <a:spcPct val="80000"/>
              </a:lnSpc>
              <a:spcBef>
                <a:spcPct val="0"/>
              </a:spcBef>
              <a:spcAft>
                <a:spcPct val="0"/>
              </a:spcAft>
              <a:defRPr sz="4800">
                <a:solidFill>
                  <a:srgbClr val="FCB131"/>
                </a:solidFill>
                <a:latin typeface="Franklin Gothic Medium" pitchFamily="34" charset="0"/>
              </a:defRPr>
            </a:lvl9pPr>
          </a:lstStyle>
          <a:p>
            <a:pPr defTabSz="913953">
              <a:defRPr/>
            </a:pPr>
            <a:r>
              <a:rPr lang="en-US">
                <a:solidFill>
                  <a:srgbClr val="FFFFFF">
                    <a:lumMod val="85000"/>
                  </a:srgbClr>
                </a:solidFill>
              </a:rPr>
              <a:t>D R A F T</a:t>
            </a:r>
          </a:p>
        </p:txBody>
      </p:sp>
      <p:sp>
        <p:nvSpPr>
          <p:cNvPr id="9" name="TextBox 8"/>
          <p:cNvSpPr txBox="1">
            <a:spLocks noChangeArrowheads="1"/>
          </p:cNvSpPr>
          <p:nvPr userDrawn="1"/>
        </p:nvSpPr>
        <p:spPr bwMode="auto">
          <a:xfrm>
            <a:off x="5638800" y="18"/>
            <a:ext cx="3505200" cy="28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spcBef>
                <a:spcPct val="0"/>
              </a:spcBef>
              <a:spcAft>
                <a:spcPct val="0"/>
              </a:spcAft>
              <a:defRPr/>
            </a:pPr>
            <a:r>
              <a:rPr lang="en-US" sz="1200" b="1">
                <a:solidFill>
                  <a:srgbClr val="FF0000"/>
                </a:solidFill>
              </a:rPr>
              <a:t>Draft Dec 19 2012</a:t>
            </a:r>
          </a:p>
        </p:txBody>
      </p:sp>
      <p:sp>
        <p:nvSpPr>
          <p:cNvPr id="2" name="Title 1"/>
          <p:cNvSpPr>
            <a:spLocks noGrp="1"/>
          </p:cNvSpPr>
          <p:nvPr>
            <p:ph type="title"/>
          </p:nvPr>
        </p:nvSpPr>
        <p:spPr>
          <a:xfrm rot="19742967">
            <a:off x="2205038" y="1971682"/>
            <a:ext cx="7620000" cy="1108075"/>
          </a:xfrm>
          <a:prstGeom prst="rect">
            <a:avLst/>
          </a:prstGeom>
        </p:spPr>
        <p:txBody>
          <a:bodyPr lIns="91395" tIns="45699" rIns="91395" bIns="45699"/>
          <a:lstStyle/>
          <a:p>
            <a:r>
              <a:rPr lang="en-US"/>
              <a:t>Click to edit Master title style</a:t>
            </a:r>
          </a:p>
        </p:txBody>
      </p:sp>
    </p:spTree>
    <p:extLst>
      <p:ext uri="{BB962C8B-B14F-4D97-AF65-F5344CB8AC3E}">
        <p14:creationId xmlns:p14="http://schemas.microsoft.com/office/powerpoint/2010/main" val="15406274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6" hidden="1"/>
          <p:cNvGraphicFramePr>
            <a:graphicFrameLocks noChangeAspect="1"/>
          </p:cNvGraphicFramePr>
          <p:nvPr userDrawn="1">
            <p:custDataLst>
              <p:tags r:id="rId2"/>
            </p:custDataLst>
          </p:nvPr>
        </p:nvGraphicFramePr>
        <p:xfrm>
          <a:off x="1593" y="1594"/>
          <a:ext cx="1587" cy="1587"/>
        </p:xfrm>
        <a:graphic>
          <a:graphicData uri="http://schemas.openxmlformats.org/presentationml/2006/ole">
            <mc:AlternateContent xmlns:mc="http://schemas.openxmlformats.org/markup-compatibility/2006">
              <mc:Choice xmlns:v="urn:schemas-microsoft-com:vml" Requires="v">
                <p:oleObj spid="_x0000_s55297" name="think-cell Slide" r:id="rId4" imgW="360" imgH="360" progId="TCLayout.ActiveDocument.1">
                  <p:embed/>
                </p:oleObj>
              </mc:Choice>
              <mc:Fallback>
                <p:oleObj name="think-cell Slide" r:id="rId4" imgW="360" imgH="360" progId="TCLayout.ActiveDocument.1">
                  <p:embed/>
                  <p:pic>
                    <p:nvPicPr>
                      <p:cNvPr id="2"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3"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10" descr="PGE_SpotlightLogobl_PPT"/>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00" y="71442"/>
            <a:ext cx="6096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8"/>
          <p:cNvSpPr txBox="1">
            <a:spLocks noChangeArrowheads="1"/>
          </p:cNvSpPr>
          <p:nvPr userDrawn="1"/>
        </p:nvSpPr>
        <p:spPr bwMode="auto">
          <a:xfrm>
            <a:off x="6688139" y="6640514"/>
            <a:ext cx="2455862" cy="222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lnSpc>
                <a:spcPct val="90000"/>
              </a:lnSpc>
              <a:spcBef>
                <a:spcPct val="0"/>
              </a:spcBef>
              <a:spcAft>
                <a:spcPct val="0"/>
              </a:spcAft>
              <a:defRPr/>
            </a:pPr>
            <a:fld id="{8FA562FE-6E97-4917-81AE-335B55BF3EB1}" type="slidenum">
              <a:rPr lang="en-US" sz="900" smtClean="0">
                <a:solidFill>
                  <a:srgbClr val="0082AA"/>
                </a:solidFill>
              </a:rPr>
              <a:pPr algn="r" defTabSz="913953" eaLnBrk="1" fontAlgn="base" hangingPunct="1">
                <a:lnSpc>
                  <a:spcPct val="90000"/>
                </a:lnSpc>
                <a:spcBef>
                  <a:spcPct val="0"/>
                </a:spcBef>
                <a:spcAft>
                  <a:spcPct val="0"/>
                </a:spcAft>
                <a:defRPr/>
              </a:pPr>
              <a:t>‹#›</a:t>
            </a:fld>
            <a:r>
              <a:rPr lang="en-US" sz="900">
                <a:solidFill>
                  <a:srgbClr val="0082AA"/>
                </a:solidFill>
              </a:rPr>
              <a:t> </a:t>
            </a:r>
          </a:p>
        </p:txBody>
      </p:sp>
      <p:sp>
        <p:nvSpPr>
          <p:cNvPr id="5" name="Footer Placeholder 4"/>
          <p:cNvSpPr>
            <a:spLocks noGrp="1"/>
          </p:cNvSpPr>
          <p:nvPr userDrawn="1"/>
        </p:nvSpPr>
        <p:spPr>
          <a:xfrm>
            <a:off x="2286000" y="6503993"/>
            <a:ext cx="4389438" cy="365125"/>
          </a:xfrm>
          <a:prstGeom prst="rect">
            <a:avLst/>
          </a:prstGeom>
        </p:spPr>
        <p:txBody>
          <a:bodyPr lIns="91395" tIns="45699" rIns="91395" bIns="45699"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800" i="1">
                <a:solidFill>
                  <a:srgbClr val="0082AA"/>
                </a:solidFill>
                <a:latin typeface="Calibri" pitchFamily="34" charset="0"/>
                <a:cs typeface="Calibri" pitchFamily="34" charset="0"/>
              </a:rPr>
              <a:t>For Internal Discussion Purposes Only</a:t>
            </a:r>
          </a:p>
        </p:txBody>
      </p:sp>
      <p:cxnSp>
        <p:nvCxnSpPr>
          <p:cNvPr id="6" name="Straight Connector 5"/>
          <p:cNvCxnSpPr/>
          <p:nvPr userDrawn="1"/>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58349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93" y="1594"/>
          <a:ext cx="1587" cy="1587"/>
        </p:xfrm>
        <a:graphic>
          <a:graphicData uri="http://schemas.openxmlformats.org/presentationml/2006/ole">
            <mc:AlternateContent xmlns:mc="http://schemas.openxmlformats.org/markup-compatibility/2006">
              <mc:Choice xmlns:v="urn:schemas-microsoft-com:vml" Requires="v">
                <p:oleObj spid="_x0000_s56321" name="think-cell Slide" r:id="rId4" imgW="360" imgH="360" progId="TCLayout.ActiveDocument.1">
                  <p:embed/>
                </p:oleObj>
              </mc:Choice>
              <mc:Fallback>
                <p:oleObj name="think-cell Slide"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3"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0" descr="PGE_SpotlightLogobl_PPT"/>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00" y="71442"/>
            <a:ext cx="6096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8"/>
          <p:cNvSpPr txBox="1">
            <a:spLocks noChangeArrowheads="1"/>
          </p:cNvSpPr>
          <p:nvPr userDrawn="1"/>
        </p:nvSpPr>
        <p:spPr bwMode="auto">
          <a:xfrm>
            <a:off x="6688139" y="6640514"/>
            <a:ext cx="2455862" cy="222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lnSpc>
                <a:spcPct val="90000"/>
              </a:lnSpc>
              <a:spcBef>
                <a:spcPct val="0"/>
              </a:spcBef>
              <a:spcAft>
                <a:spcPct val="0"/>
              </a:spcAft>
              <a:defRPr/>
            </a:pPr>
            <a:fld id="{82D58BDB-67E3-4336-8B8B-35A4EEAA47BA}" type="slidenum">
              <a:rPr lang="en-US" sz="900" smtClean="0">
                <a:solidFill>
                  <a:srgbClr val="0082AA"/>
                </a:solidFill>
              </a:rPr>
              <a:pPr algn="r" defTabSz="913953" eaLnBrk="1" fontAlgn="base" hangingPunct="1">
                <a:lnSpc>
                  <a:spcPct val="90000"/>
                </a:lnSpc>
                <a:spcBef>
                  <a:spcPct val="0"/>
                </a:spcBef>
                <a:spcAft>
                  <a:spcPct val="0"/>
                </a:spcAft>
                <a:defRPr/>
              </a:pPr>
              <a:t>‹#›</a:t>
            </a:fld>
            <a:r>
              <a:rPr lang="en-US" sz="900">
                <a:solidFill>
                  <a:srgbClr val="0082AA"/>
                </a:solidFill>
              </a:rPr>
              <a:t> </a:t>
            </a:r>
          </a:p>
        </p:txBody>
      </p:sp>
      <p:sp>
        <p:nvSpPr>
          <p:cNvPr id="7" name="Footer Placeholder 4"/>
          <p:cNvSpPr>
            <a:spLocks noGrp="1"/>
          </p:cNvSpPr>
          <p:nvPr userDrawn="1"/>
        </p:nvSpPr>
        <p:spPr>
          <a:xfrm>
            <a:off x="2286000" y="6503993"/>
            <a:ext cx="4389438" cy="365125"/>
          </a:xfrm>
          <a:prstGeom prst="rect">
            <a:avLst/>
          </a:prstGeom>
        </p:spPr>
        <p:txBody>
          <a:bodyPr lIns="91395" tIns="45699" rIns="91395" bIns="45699"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800" i="1">
                <a:solidFill>
                  <a:srgbClr val="0082AA"/>
                </a:solidFill>
                <a:latin typeface="Calibri" pitchFamily="34" charset="0"/>
                <a:cs typeface="Calibri" pitchFamily="34" charset="0"/>
              </a:rPr>
              <a:t>For Internal Discussion Purposes Only</a:t>
            </a:r>
          </a:p>
        </p:txBody>
      </p:sp>
      <p:cxnSp>
        <p:nvCxnSpPr>
          <p:cNvPr id="8" name="Straight Connector 7"/>
          <p:cNvCxnSpPr/>
          <p:nvPr userDrawn="1"/>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sp>
        <p:nvSpPr>
          <p:cNvPr id="9" name="Rectangle 2"/>
          <p:cNvSpPr txBox="1">
            <a:spLocks noChangeArrowheads="1"/>
          </p:cNvSpPr>
          <p:nvPr userDrawn="1"/>
        </p:nvSpPr>
        <p:spPr bwMode="auto">
          <a:xfrm rot="19742967">
            <a:off x="2205038" y="1971715"/>
            <a:ext cx="7620000" cy="1107996"/>
          </a:xfrm>
          <a:prstGeom prst="rect">
            <a:avLst/>
          </a:prstGeom>
          <a:noFill/>
          <a:ln w="9525">
            <a:noFill/>
            <a:miter lim="800000"/>
            <a:headEnd/>
            <a:tailEnd/>
          </a:ln>
        </p:spPr>
        <p:txBody>
          <a:bodyPr lIns="0" tIns="0" rIns="0" bIns="0">
            <a:spAutoFit/>
          </a:bodyPr>
          <a:lstStyle>
            <a:lvl1pPr algn="l" rtl="0" eaLnBrk="0" fontAlgn="base" hangingPunct="0">
              <a:lnSpc>
                <a:spcPct val="90000"/>
              </a:lnSpc>
              <a:spcBef>
                <a:spcPct val="0"/>
              </a:spcBef>
              <a:spcAft>
                <a:spcPct val="0"/>
              </a:spcAft>
              <a:defRPr sz="8000" b="1">
                <a:solidFill>
                  <a:schemeClr val="bg1">
                    <a:lumMod val="85000"/>
                  </a:schemeClr>
                </a:solidFill>
                <a:latin typeface="Arial" charset="0"/>
                <a:ea typeface="ヒラギノ角ゴ Pro W3" pitchFamily="97" charset="-128"/>
                <a:cs typeface="ヒラギノ角ゴ Pro W3" pitchFamily="97" charset="-128"/>
              </a:defRPr>
            </a:lvl1pPr>
            <a:lvl2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2pPr>
            <a:lvl3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3pPr>
            <a:lvl4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4pPr>
            <a:lvl5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5pPr>
            <a:lvl6pPr marL="457200" algn="l" rtl="0" fontAlgn="base">
              <a:lnSpc>
                <a:spcPct val="80000"/>
              </a:lnSpc>
              <a:spcBef>
                <a:spcPct val="0"/>
              </a:spcBef>
              <a:spcAft>
                <a:spcPct val="0"/>
              </a:spcAft>
              <a:defRPr sz="4800">
                <a:solidFill>
                  <a:srgbClr val="FCB131"/>
                </a:solidFill>
                <a:latin typeface="Franklin Gothic Medium" pitchFamily="34" charset="0"/>
              </a:defRPr>
            </a:lvl6pPr>
            <a:lvl7pPr marL="914400" algn="l" rtl="0" fontAlgn="base">
              <a:lnSpc>
                <a:spcPct val="80000"/>
              </a:lnSpc>
              <a:spcBef>
                <a:spcPct val="0"/>
              </a:spcBef>
              <a:spcAft>
                <a:spcPct val="0"/>
              </a:spcAft>
              <a:defRPr sz="4800">
                <a:solidFill>
                  <a:srgbClr val="FCB131"/>
                </a:solidFill>
                <a:latin typeface="Franklin Gothic Medium" pitchFamily="34" charset="0"/>
              </a:defRPr>
            </a:lvl7pPr>
            <a:lvl8pPr marL="1371600" algn="l" rtl="0" fontAlgn="base">
              <a:lnSpc>
                <a:spcPct val="80000"/>
              </a:lnSpc>
              <a:spcBef>
                <a:spcPct val="0"/>
              </a:spcBef>
              <a:spcAft>
                <a:spcPct val="0"/>
              </a:spcAft>
              <a:defRPr sz="4800">
                <a:solidFill>
                  <a:srgbClr val="FCB131"/>
                </a:solidFill>
                <a:latin typeface="Franklin Gothic Medium" pitchFamily="34" charset="0"/>
              </a:defRPr>
            </a:lvl8pPr>
            <a:lvl9pPr marL="1828800" algn="l" rtl="0" fontAlgn="base">
              <a:lnSpc>
                <a:spcPct val="80000"/>
              </a:lnSpc>
              <a:spcBef>
                <a:spcPct val="0"/>
              </a:spcBef>
              <a:spcAft>
                <a:spcPct val="0"/>
              </a:spcAft>
              <a:defRPr sz="4800">
                <a:solidFill>
                  <a:srgbClr val="FCB131"/>
                </a:solidFill>
                <a:latin typeface="Franklin Gothic Medium" pitchFamily="34" charset="0"/>
              </a:defRPr>
            </a:lvl9pPr>
          </a:lstStyle>
          <a:p>
            <a:pPr defTabSz="913953">
              <a:defRPr/>
            </a:pPr>
            <a:r>
              <a:rPr lang="en-US">
                <a:solidFill>
                  <a:srgbClr val="FFFFFF">
                    <a:lumMod val="85000"/>
                  </a:srgbClr>
                </a:solidFill>
              </a:rPr>
              <a:t>D R A F T</a:t>
            </a:r>
          </a:p>
        </p:txBody>
      </p:sp>
      <p:sp>
        <p:nvSpPr>
          <p:cNvPr id="10" name="TextBox 3"/>
          <p:cNvSpPr txBox="1">
            <a:spLocks noChangeArrowheads="1"/>
          </p:cNvSpPr>
          <p:nvPr userDrawn="1"/>
        </p:nvSpPr>
        <p:spPr bwMode="auto">
          <a:xfrm>
            <a:off x="5638800" y="18"/>
            <a:ext cx="3505200" cy="28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spcBef>
                <a:spcPct val="0"/>
              </a:spcBef>
              <a:spcAft>
                <a:spcPct val="0"/>
              </a:spcAft>
              <a:defRPr/>
            </a:pPr>
            <a:r>
              <a:rPr lang="en-US" sz="1200" b="1">
                <a:solidFill>
                  <a:srgbClr val="FF0000"/>
                </a:solidFill>
              </a:rPr>
              <a:t>Draft Dec 19 2012</a:t>
            </a:r>
          </a:p>
        </p:txBody>
      </p:sp>
      <p:sp>
        <p:nvSpPr>
          <p:cNvPr id="2" name="Title 1"/>
          <p:cNvSpPr>
            <a:spLocks noGrp="1"/>
          </p:cNvSpPr>
          <p:nvPr>
            <p:ph type="title"/>
          </p:nvPr>
        </p:nvSpPr>
        <p:spPr>
          <a:xfrm>
            <a:off x="2514600" y="1371601"/>
            <a:ext cx="6248400" cy="566739"/>
          </a:xfrm>
          <a:prstGeom prst="rect">
            <a:avLst/>
          </a:prstGeom>
        </p:spPr>
        <p:txBody>
          <a:bodyPr lIns="91395" tIns="45699" rIns="91395" bIns="45699"/>
          <a:lstStyle>
            <a:lvl1pPr algn="l">
              <a:defRPr sz="4800" b="0"/>
            </a:lvl1pPr>
          </a:lstStyle>
          <a:p>
            <a:r>
              <a:rPr lang="en-US"/>
              <a:t>Click to edit Master title style</a:t>
            </a:r>
          </a:p>
        </p:txBody>
      </p:sp>
      <p:sp>
        <p:nvSpPr>
          <p:cNvPr id="3" name="Picture Placeholder 2"/>
          <p:cNvSpPr>
            <a:spLocks noGrp="1"/>
          </p:cNvSpPr>
          <p:nvPr>
            <p:ph type="pic" idx="1"/>
          </p:nvPr>
        </p:nvSpPr>
        <p:spPr>
          <a:xfrm>
            <a:off x="2514600" y="2286000"/>
            <a:ext cx="6629400" cy="4572000"/>
          </a:xfrm>
          <a:prstGeom prst="rect">
            <a:avLst/>
          </a:prstGeom>
        </p:spPr>
        <p:txBody>
          <a:bodyPr lIns="91395" tIns="45699" rIns="91395" bIns="45699"/>
          <a:lstStyle>
            <a:lvl1pPr marL="0" indent="0">
              <a:buNone/>
              <a:defRPr sz="3200"/>
            </a:lvl1pPr>
            <a:lvl2pPr marL="456975" indent="0">
              <a:buNone/>
              <a:defRPr sz="2800"/>
            </a:lvl2pPr>
            <a:lvl3pPr marL="913953" indent="0">
              <a:buNone/>
              <a:defRPr sz="2400"/>
            </a:lvl3pPr>
            <a:lvl4pPr marL="1370930" indent="0">
              <a:buNone/>
              <a:defRPr sz="2000"/>
            </a:lvl4pPr>
            <a:lvl5pPr marL="1827907" indent="0">
              <a:buNone/>
              <a:defRPr sz="2000"/>
            </a:lvl5pPr>
            <a:lvl6pPr marL="2284884" indent="0">
              <a:buNone/>
              <a:defRPr sz="2000"/>
            </a:lvl6pPr>
            <a:lvl7pPr marL="2741860" indent="0">
              <a:buNone/>
              <a:defRPr sz="2000"/>
            </a:lvl7pPr>
            <a:lvl8pPr marL="3198837" indent="0">
              <a:buNone/>
              <a:defRPr sz="2000"/>
            </a:lvl8pPr>
            <a:lvl9pPr marL="3655815" indent="0">
              <a:buNone/>
              <a:defRPr sz="2000"/>
            </a:lvl9pPr>
          </a:lstStyle>
          <a:p>
            <a:pPr lvl="0"/>
            <a:endParaRPr lang="en-US" noProof="0"/>
          </a:p>
        </p:txBody>
      </p:sp>
    </p:spTree>
    <p:extLst>
      <p:ext uri="{BB962C8B-B14F-4D97-AF65-F5344CB8AC3E}">
        <p14:creationId xmlns:p14="http://schemas.microsoft.com/office/powerpoint/2010/main" val="20243740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AndTx" preserve="1">
  <p:cSld name="Title, Content and Tex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93" y="1594"/>
          <a:ext cx="1587" cy="1587"/>
        </p:xfrm>
        <a:graphic>
          <a:graphicData uri="http://schemas.openxmlformats.org/presentationml/2006/ole">
            <mc:AlternateContent xmlns:mc="http://schemas.openxmlformats.org/markup-compatibility/2006">
              <mc:Choice xmlns:v="urn:schemas-microsoft-com:vml" Requires="v">
                <p:oleObj spid="_x0000_s57345" name="think-cell Slide" r:id="rId4" imgW="360" imgH="360" progId="TCLayout.ActiveDocument.1">
                  <p:embed/>
                </p:oleObj>
              </mc:Choice>
              <mc:Fallback>
                <p:oleObj name="think-cell Slide" r:id="rId4" imgW="360" imgH="360" progId="TCLayout.ActiveDocument.1">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3"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0" descr="PGE_SpotlightLogobl_PPT"/>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00" y="71442"/>
            <a:ext cx="6096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8"/>
          <p:cNvSpPr txBox="1">
            <a:spLocks noChangeArrowheads="1"/>
          </p:cNvSpPr>
          <p:nvPr userDrawn="1"/>
        </p:nvSpPr>
        <p:spPr bwMode="auto">
          <a:xfrm>
            <a:off x="6688139" y="6640514"/>
            <a:ext cx="2455862" cy="222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lnSpc>
                <a:spcPct val="90000"/>
              </a:lnSpc>
              <a:spcBef>
                <a:spcPct val="0"/>
              </a:spcBef>
              <a:spcAft>
                <a:spcPct val="0"/>
              </a:spcAft>
              <a:defRPr/>
            </a:pPr>
            <a:fld id="{D42ACC89-F4B4-4494-8E26-6B8725B71FE0}" type="slidenum">
              <a:rPr lang="en-US" sz="900" smtClean="0">
                <a:solidFill>
                  <a:srgbClr val="0082AA"/>
                </a:solidFill>
              </a:rPr>
              <a:pPr algn="r" defTabSz="913953" eaLnBrk="1" fontAlgn="base" hangingPunct="1">
                <a:lnSpc>
                  <a:spcPct val="90000"/>
                </a:lnSpc>
                <a:spcBef>
                  <a:spcPct val="0"/>
                </a:spcBef>
                <a:spcAft>
                  <a:spcPct val="0"/>
                </a:spcAft>
                <a:defRPr/>
              </a:pPr>
              <a:t>‹#›</a:t>
            </a:fld>
            <a:r>
              <a:rPr lang="en-US" sz="900">
                <a:solidFill>
                  <a:srgbClr val="0082AA"/>
                </a:solidFill>
              </a:rPr>
              <a:t> </a:t>
            </a:r>
          </a:p>
        </p:txBody>
      </p:sp>
      <p:sp>
        <p:nvSpPr>
          <p:cNvPr id="8" name="Footer Placeholder 4"/>
          <p:cNvSpPr>
            <a:spLocks noGrp="1"/>
          </p:cNvSpPr>
          <p:nvPr userDrawn="1"/>
        </p:nvSpPr>
        <p:spPr>
          <a:xfrm>
            <a:off x="2286000" y="6503993"/>
            <a:ext cx="4389438" cy="365125"/>
          </a:xfrm>
          <a:prstGeom prst="rect">
            <a:avLst/>
          </a:prstGeom>
        </p:spPr>
        <p:txBody>
          <a:bodyPr lIns="91395" tIns="45699" rIns="91395" bIns="45699"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800" i="1">
                <a:solidFill>
                  <a:srgbClr val="0082AA"/>
                </a:solidFill>
                <a:latin typeface="Calibri" pitchFamily="34" charset="0"/>
                <a:cs typeface="Calibri" pitchFamily="34" charset="0"/>
              </a:rPr>
              <a:t>For Internal Discussion Purposes Only</a:t>
            </a:r>
          </a:p>
        </p:txBody>
      </p:sp>
      <p:cxnSp>
        <p:nvCxnSpPr>
          <p:cNvPr id="9" name="Straight Connector 8"/>
          <p:cNvCxnSpPr/>
          <p:nvPr userDrawn="1"/>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sp>
        <p:nvSpPr>
          <p:cNvPr id="10" name="TextBox 3"/>
          <p:cNvSpPr txBox="1">
            <a:spLocks noChangeArrowheads="1"/>
          </p:cNvSpPr>
          <p:nvPr userDrawn="1"/>
        </p:nvSpPr>
        <p:spPr bwMode="auto">
          <a:xfrm>
            <a:off x="5638800" y="18"/>
            <a:ext cx="3505200" cy="28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spcBef>
                <a:spcPct val="0"/>
              </a:spcBef>
              <a:spcAft>
                <a:spcPct val="0"/>
              </a:spcAft>
              <a:defRPr/>
            </a:pPr>
            <a:r>
              <a:rPr lang="en-US" sz="1200" b="1">
                <a:solidFill>
                  <a:srgbClr val="FF0000"/>
                </a:solidFill>
              </a:rPr>
              <a:t>Draft Dec 19 2012</a:t>
            </a:r>
          </a:p>
        </p:txBody>
      </p:sp>
      <p:sp>
        <p:nvSpPr>
          <p:cNvPr id="2" name="Title 1"/>
          <p:cNvSpPr>
            <a:spLocks noGrp="1"/>
          </p:cNvSpPr>
          <p:nvPr>
            <p:ph type="title"/>
          </p:nvPr>
        </p:nvSpPr>
        <p:spPr>
          <a:xfrm>
            <a:off x="2514600" y="1371600"/>
            <a:ext cx="6172200" cy="762000"/>
          </a:xfrm>
          <a:prstGeom prst="rect">
            <a:avLst/>
          </a:prstGeom>
        </p:spPr>
        <p:txBody>
          <a:bodyPr lIns="91395" tIns="45699" rIns="91395" bIns="45699"/>
          <a:lstStyle/>
          <a:p>
            <a:r>
              <a:rPr lang="en-US"/>
              <a:t>Click to edit Master title style</a:t>
            </a:r>
          </a:p>
        </p:txBody>
      </p:sp>
      <p:sp>
        <p:nvSpPr>
          <p:cNvPr id="3" name="Content Placeholder 2"/>
          <p:cNvSpPr>
            <a:spLocks noGrp="1"/>
          </p:cNvSpPr>
          <p:nvPr>
            <p:ph sz="half" idx="1"/>
          </p:nvPr>
        </p:nvSpPr>
        <p:spPr>
          <a:xfrm>
            <a:off x="2514605" y="2286003"/>
            <a:ext cx="3009900" cy="4152900"/>
          </a:xfrm>
          <a:prstGeom prst="rect">
            <a:avLst/>
          </a:prstGeom>
        </p:spPr>
        <p:txBody>
          <a:bodyPr lIns="91395" tIns="45699" rIns="91395" bIns="456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76900" y="2286003"/>
            <a:ext cx="3009900" cy="4152900"/>
          </a:xfrm>
          <a:prstGeom prst="rect">
            <a:avLst/>
          </a:prstGeom>
        </p:spPr>
        <p:txBody>
          <a:bodyPr lIns="91395" tIns="45699" rIns="91395" bIns="456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3170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extBox 1"/>
          <p:cNvSpPr txBox="1"/>
          <p:nvPr userDrawn="1"/>
        </p:nvSpPr>
        <p:spPr>
          <a:xfrm>
            <a:off x="8" y="6553200"/>
            <a:ext cx="9140825" cy="261610"/>
          </a:xfrm>
          <a:prstGeom prst="rect">
            <a:avLst/>
          </a:prstGeom>
          <a:noFill/>
        </p:spPr>
        <p:txBody>
          <a:bodyPr wrap="square" rtlCol="0">
            <a:spAutoFit/>
          </a:bodyPr>
          <a:lstStyle/>
          <a:p>
            <a:pPr algn="ctr" defTabSz="912689"/>
            <a:r>
              <a:rPr lang="en-US" sz="1100">
                <a:solidFill>
                  <a:srgbClr val="FF0000"/>
                </a:solidFill>
              </a:rPr>
              <a:t>Internal &amp; Confidential</a:t>
            </a:r>
          </a:p>
        </p:txBody>
      </p:sp>
    </p:spTree>
    <p:extLst>
      <p:ext uri="{BB962C8B-B14F-4D97-AF65-F5344CB8AC3E}">
        <p14:creationId xmlns:p14="http://schemas.microsoft.com/office/powerpoint/2010/main" val="40059351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chart" preserve="1">
  <p:cSld name="Title and Char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93" y="1594"/>
          <a:ext cx="1587" cy="1587"/>
        </p:xfrm>
        <a:graphic>
          <a:graphicData uri="http://schemas.openxmlformats.org/presentationml/2006/ole">
            <mc:AlternateContent xmlns:mc="http://schemas.openxmlformats.org/markup-compatibility/2006">
              <mc:Choice xmlns:v="urn:schemas-microsoft-com:vml" Requires="v">
                <p:oleObj spid="_x0000_s58369" name="think-cell Slide" r:id="rId4" imgW="360" imgH="360" progId="TCLayout.ActiveDocument.1">
                  <p:embed/>
                </p:oleObj>
              </mc:Choice>
              <mc:Fallback>
                <p:oleObj name="think-cell Slide"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3"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0" descr="PGE_SpotlightLogobl_PPT"/>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00" y="71442"/>
            <a:ext cx="6096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8"/>
          <p:cNvSpPr txBox="1">
            <a:spLocks noChangeArrowheads="1"/>
          </p:cNvSpPr>
          <p:nvPr userDrawn="1"/>
        </p:nvSpPr>
        <p:spPr bwMode="auto">
          <a:xfrm>
            <a:off x="6688139" y="6640514"/>
            <a:ext cx="2455862" cy="222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lnSpc>
                <a:spcPct val="90000"/>
              </a:lnSpc>
              <a:spcBef>
                <a:spcPct val="0"/>
              </a:spcBef>
              <a:spcAft>
                <a:spcPct val="0"/>
              </a:spcAft>
              <a:defRPr/>
            </a:pPr>
            <a:fld id="{17E464BE-DE37-4833-8125-4D0B4D13D3AF}" type="slidenum">
              <a:rPr lang="en-US" sz="900" smtClean="0">
                <a:solidFill>
                  <a:srgbClr val="0082AA"/>
                </a:solidFill>
              </a:rPr>
              <a:pPr algn="r" defTabSz="913953" eaLnBrk="1" fontAlgn="base" hangingPunct="1">
                <a:lnSpc>
                  <a:spcPct val="90000"/>
                </a:lnSpc>
                <a:spcBef>
                  <a:spcPct val="0"/>
                </a:spcBef>
                <a:spcAft>
                  <a:spcPct val="0"/>
                </a:spcAft>
                <a:defRPr/>
              </a:pPr>
              <a:t>‹#›</a:t>
            </a:fld>
            <a:r>
              <a:rPr lang="en-US" sz="900">
                <a:solidFill>
                  <a:srgbClr val="0082AA"/>
                </a:solidFill>
              </a:rPr>
              <a:t> </a:t>
            </a:r>
          </a:p>
        </p:txBody>
      </p:sp>
      <p:sp>
        <p:nvSpPr>
          <p:cNvPr id="7" name="Footer Placeholder 4"/>
          <p:cNvSpPr>
            <a:spLocks noGrp="1"/>
          </p:cNvSpPr>
          <p:nvPr userDrawn="1"/>
        </p:nvSpPr>
        <p:spPr>
          <a:xfrm>
            <a:off x="2286000" y="6503993"/>
            <a:ext cx="4389438" cy="365125"/>
          </a:xfrm>
          <a:prstGeom prst="rect">
            <a:avLst/>
          </a:prstGeom>
        </p:spPr>
        <p:txBody>
          <a:bodyPr lIns="91395" tIns="45699" rIns="91395" bIns="45699"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800" i="1">
                <a:solidFill>
                  <a:srgbClr val="0082AA"/>
                </a:solidFill>
                <a:latin typeface="Calibri" pitchFamily="34" charset="0"/>
                <a:cs typeface="Calibri" pitchFamily="34" charset="0"/>
              </a:rPr>
              <a:t>For Internal Discussion Purposes Only</a:t>
            </a:r>
          </a:p>
        </p:txBody>
      </p:sp>
      <p:cxnSp>
        <p:nvCxnSpPr>
          <p:cNvPr id="8" name="Straight Connector 7"/>
          <p:cNvCxnSpPr/>
          <p:nvPr userDrawn="1"/>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sp>
        <p:nvSpPr>
          <p:cNvPr id="9" name="TextBox 8"/>
          <p:cNvSpPr txBox="1">
            <a:spLocks noChangeArrowheads="1"/>
          </p:cNvSpPr>
          <p:nvPr userDrawn="1"/>
        </p:nvSpPr>
        <p:spPr bwMode="auto">
          <a:xfrm>
            <a:off x="5638800" y="18"/>
            <a:ext cx="3505200" cy="28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spcBef>
                <a:spcPct val="0"/>
              </a:spcBef>
              <a:spcAft>
                <a:spcPct val="0"/>
              </a:spcAft>
              <a:defRPr/>
            </a:pPr>
            <a:r>
              <a:rPr lang="en-US" sz="1200" b="1">
                <a:solidFill>
                  <a:srgbClr val="FF0000"/>
                </a:solidFill>
              </a:rPr>
              <a:t>Draft Dec 19 2012</a:t>
            </a:r>
          </a:p>
        </p:txBody>
      </p:sp>
      <p:sp>
        <p:nvSpPr>
          <p:cNvPr id="2" name="Title 1"/>
          <p:cNvSpPr>
            <a:spLocks noGrp="1"/>
          </p:cNvSpPr>
          <p:nvPr>
            <p:ph type="title"/>
          </p:nvPr>
        </p:nvSpPr>
        <p:spPr>
          <a:xfrm>
            <a:off x="2514600" y="1371600"/>
            <a:ext cx="6172200" cy="762000"/>
          </a:xfrm>
          <a:prstGeom prst="rect">
            <a:avLst/>
          </a:prstGeom>
        </p:spPr>
        <p:txBody>
          <a:bodyPr lIns="91395" tIns="45699" rIns="91395" bIns="45699"/>
          <a:lstStyle>
            <a:lvl1pPr>
              <a:defRPr sz="2400">
                <a:solidFill>
                  <a:srgbClr val="0082AA"/>
                </a:solidFill>
              </a:defRPr>
            </a:lvl1pPr>
          </a:lstStyle>
          <a:p>
            <a:r>
              <a:rPr lang="en-US"/>
              <a:t>Click to edit Master title style</a:t>
            </a:r>
          </a:p>
        </p:txBody>
      </p:sp>
      <p:sp>
        <p:nvSpPr>
          <p:cNvPr id="3" name="Chart Placeholder 2"/>
          <p:cNvSpPr>
            <a:spLocks noGrp="1"/>
          </p:cNvSpPr>
          <p:nvPr>
            <p:ph type="chart" idx="1"/>
          </p:nvPr>
        </p:nvSpPr>
        <p:spPr>
          <a:xfrm>
            <a:off x="2514600" y="2286003"/>
            <a:ext cx="6172200" cy="4152900"/>
          </a:xfrm>
          <a:prstGeom prst="rect">
            <a:avLst/>
          </a:prstGeom>
        </p:spPr>
        <p:txBody>
          <a:bodyPr lIns="91395" tIns="45699" rIns="91395" bIns="45699"/>
          <a:lstStyle/>
          <a:p>
            <a:pPr lvl="0"/>
            <a:endParaRPr lang="en-US" noProof="0"/>
          </a:p>
        </p:txBody>
      </p:sp>
    </p:spTree>
    <p:extLst>
      <p:ext uri="{BB962C8B-B14F-4D97-AF65-F5344CB8AC3E}">
        <p14:creationId xmlns:p14="http://schemas.microsoft.com/office/powerpoint/2010/main" val="33996450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chartAndTx" preserve="1">
  <p:cSld name="Title, Chart and Tex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93" y="1594"/>
          <a:ext cx="1587" cy="1587"/>
        </p:xfrm>
        <a:graphic>
          <a:graphicData uri="http://schemas.openxmlformats.org/presentationml/2006/ole">
            <mc:AlternateContent xmlns:mc="http://schemas.openxmlformats.org/markup-compatibility/2006">
              <mc:Choice xmlns:v="urn:schemas-microsoft-com:vml" Requires="v">
                <p:oleObj spid="_x0000_s59393" name="think-cell Slide" r:id="rId4" imgW="360" imgH="360" progId="TCLayout.ActiveDocument.1">
                  <p:embed/>
                </p:oleObj>
              </mc:Choice>
              <mc:Fallback>
                <p:oleObj name="think-cell Slide" r:id="rId4" imgW="360" imgH="360" progId="TCLayout.ActiveDocument.1">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3"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0" descr="PGE_SpotlightLogobl_PPT"/>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00" y="71442"/>
            <a:ext cx="6096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8"/>
          <p:cNvSpPr txBox="1">
            <a:spLocks noChangeArrowheads="1"/>
          </p:cNvSpPr>
          <p:nvPr userDrawn="1"/>
        </p:nvSpPr>
        <p:spPr bwMode="auto">
          <a:xfrm>
            <a:off x="6688139" y="6640514"/>
            <a:ext cx="2455862" cy="222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lnSpc>
                <a:spcPct val="90000"/>
              </a:lnSpc>
              <a:spcBef>
                <a:spcPct val="0"/>
              </a:spcBef>
              <a:spcAft>
                <a:spcPct val="0"/>
              </a:spcAft>
              <a:defRPr/>
            </a:pPr>
            <a:fld id="{073995E9-B5BD-4712-A051-8F0EB193AD92}" type="slidenum">
              <a:rPr lang="en-US" sz="900" smtClean="0">
                <a:solidFill>
                  <a:srgbClr val="0082AA"/>
                </a:solidFill>
              </a:rPr>
              <a:pPr algn="r" defTabSz="913953" eaLnBrk="1" fontAlgn="base" hangingPunct="1">
                <a:lnSpc>
                  <a:spcPct val="90000"/>
                </a:lnSpc>
                <a:spcBef>
                  <a:spcPct val="0"/>
                </a:spcBef>
                <a:spcAft>
                  <a:spcPct val="0"/>
                </a:spcAft>
                <a:defRPr/>
              </a:pPr>
              <a:t>‹#›</a:t>
            </a:fld>
            <a:r>
              <a:rPr lang="en-US" sz="900">
                <a:solidFill>
                  <a:srgbClr val="0082AA"/>
                </a:solidFill>
              </a:rPr>
              <a:t> </a:t>
            </a:r>
          </a:p>
        </p:txBody>
      </p:sp>
      <p:sp>
        <p:nvSpPr>
          <p:cNvPr id="8" name="Footer Placeholder 4"/>
          <p:cNvSpPr>
            <a:spLocks noGrp="1"/>
          </p:cNvSpPr>
          <p:nvPr userDrawn="1"/>
        </p:nvSpPr>
        <p:spPr>
          <a:xfrm>
            <a:off x="2286000" y="6503993"/>
            <a:ext cx="4389438" cy="365125"/>
          </a:xfrm>
          <a:prstGeom prst="rect">
            <a:avLst/>
          </a:prstGeom>
        </p:spPr>
        <p:txBody>
          <a:bodyPr lIns="91395" tIns="45699" rIns="91395" bIns="45699"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800" i="1">
                <a:solidFill>
                  <a:srgbClr val="0082AA"/>
                </a:solidFill>
                <a:latin typeface="Calibri" pitchFamily="34" charset="0"/>
                <a:cs typeface="Calibri" pitchFamily="34" charset="0"/>
              </a:rPr>
              <a:t>For Internal Discussion Purposes Only</a:t>
            </a:r>
          </a:p>
        </p:txBody>
      </p:sp>
      <p:cxnSp>
        <p:nvCxnSpPr>
          <p:cNvPr id="9" name="Straight Connector 8"/>
          <p:cNvCxnSpPr/>
          <p:nvPr userDrawn="1"/>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sp>
        <p:nvSpPr>
          <p:cNvPr id="10" name="TextBox 3"/>
          <p:cNvSpPr txBox="1">
            <a:spLocks noChangeArrowheads="1"/>
          </p:cNvSpPr>
          <p:nvPr userDrawn="1"/>
        </p:nvSpPr>
        <p:spPr bwMode="auto">
          <a:xfrm>
            <a:off x="5638800" y="18"/>
            <a:ext cx="3505200" cy="28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spcBef>
                <a:spcPct val="0"/>
              </a:spcBef>
              <a:spcAft>
                <a:spcPct val="0"/>
              </a:spcAft>
              <a:defRPr/>
            </a:pPr>
            <a:r>
              <a:rPr lang="en-US" sz="1200" b="1">
                <a:solidFill>
                  <a:srgbClr val="FF0000"/>
                </a:solidFill>
              </a:rPr>
              <a:t>Draft Dec 7 2012</a:t>
            </a:r>
          </a:p>
        </p:txBody>
      </p:sp>
      <p:sp>
        <p:nvSpPr>
          <p:cNvPr id="2" name="Title 1"/>
          <p:cNvSpPr>
            <a:spLocks noGrp="1"/>
          </p:cNvSpPr>
          <p:nvPr>
            <p:ph type="title"/>
          </p:nvPr>
        </p:nvSpPr>
        <p:spPr>
          <a:xfrm>
            <a:off x="2514600" y="1371603"/>
            <a:ext cx="6172200" cy="735012"/>
          </a:xfrm>
          <a:prstGeom prst="rect">
            <a:avLst/>
          </a:prstGeom>
        </p:spPr>
        <p:txBody>
          <a:bodyPr lIns="91395" tIns="45699" rIns="91395" bIns="45699"/>
          <a:lstStyle>
            <a:lvl1pPr>
              <a:defRPr sz="2400">
                <a:solidFill>
                  <a:srgbClr val="0082AA"/>
                </a:solidFill>
              </a:defRPr>
            </a:lvl1pPr>
          </a:lstStyle>
          <a:p>
            <a:r>
              <a:rPr lang="en-US"/>
              <a:t>Click to edit Master title style</a:t>
            </a:r>
          </a:p>
        </p:txBody>
      </p:sp>
      <p:sp>
        <p:nvSpPr>
          <p:cNvPr id="3" name="Chart Placeholder 2"/>
          <p:cNvSpPr>
            <a:spLocks noGrp="1"/>
          </p:cNvSpPr>
          <p:nvPr>
            <p:ph type="chart" sz="half" idx="1"/>
          </p:nvPr>
        </p:nvSpPr>
        <p:spPr>
          <a:xfrm>
            <a:off x="2514605" y="2286000"/>
            <a:ext cx="3009900" cy="1463040"/>
          </a:xfrm>
          <a:prstGeom prst="rect">
            <a:avLst/>
          </a:prstGeom>
        </p:spPr>
        <p:txBody>
          <a:bodyPr lIns="91395" tIns="45699" rIns="91395" bIns="45699"/>
          <a:lstStyle/>
          <a:p>
            <a:pPr lvl="0"/>
            <a:endParaRPr lang="en-US" noProof="0"/>
          </a:p>
        </p:txBody>
      </p:sp>
      <p:sp>
        <p:nvSpPr>
          <p:cNvPr id="4" name="Text Placeholder 3"/>
          <p:cNvSpPr>
            <a:spLocks noGrp="1"/>
          </p:cNvSpPr>
          <p:nvPr>
            <p:ph type="body" sz="half" idx="2"/>
          </p:nvPr>
        </p:nvSpPr>
        <p:spPr>
          <a:xfrm>
            <a:off x="5676900" y="2286005"/>
            <a:ext cx="3009900" cy="1117229"/>
          </a:xfrm>
          <a:prstGeom prst="rect">
            <a:avLst/>
          </a:prstGeom>
        </p:spPr>
        <p:txBody>
          <a:bodyPr lIns="91395" tIns="45699" rIns="91395" bIns="45699"/>
          <a:lstStyle>
            <a:lvl1pPr marL="0" indent="0">
              <a:defRPr sz="1800"/>
            </a:lvl1pPr>
            <a:lvl2pPr marL="401443" indent="-177714">
              <a:defRPr sz="1800"/>
            </a:lvl2pPr>
            <a:lvl3pPr marL="569635" indent="-168194">
              <a:defRPr sz="1800"/>
            </a:lvl3pPr>
            <a:lvl4pPr marL="747348" indent="-177714">
              <a:defRPr sz="1800"/>
            </a:lvl4pPr>
            <a:lvl5pPr marL="913953" indent="-166608">
              <a:buFont typeface="Lucida Grande"/>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70644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93" y="1594"/>
          <a:ext cx="1587" cy="1587"/>
        </p:xfrm>
        <a:graphic>
          <a:graphicData uri="http://schemas.openxmlformats.org/presentationml/2006/ole">
            <mc:AlternateContent xmlns:mc="http://schemas.openxmlformats.org/markup-compatibility/2006">
              <mc:Choice xmlns:v="urn:schemas-microsoft-com:vml" Requires="v">
                <p:oleObj spid="_x0000_s60417" name="think-cell Slide" r:id="rId4" imgW="360" imgH="360" progId="TCLayout.ActiveDocument.1">
                  <p:embed/>
                </p:oleObj>
              </mc:Choice>
              <mc:Fallback>
                <p:oleObj name="think-cell Slide"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3"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0" descr="PGE_SpotlightLogobl_PPT"/>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00" y="71442"/>
            <a:ext cx="6096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8"/>
          <p:cNvSpPr txBox="1">
            <a:spLocks noChangeArrowheads="1"/>
          </p:cNvSpPr>
          <p:nvPr userDrawn="1"/>
        </p:nvSpPr>
        <p:spPr bwMode="auto">
          <a:xfrm>
            <a:off x="6688139" y="6640514"/>
            <a:ext cx="2455862" cy="222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lnSpc>
                <a:spcPct val="90000"/>
              </a:lnSpc>
              <a:spcBef>
                <a:spcPct val="0"/>
              </a:spcBef>
              <a:spcAft>
                <a:spcPct val="0"/>
              </a:spcAft>
              <a:defRPr/>
            </a:pPr>
            <a:fld id="{8A39C1A1-B581-463F-B9DB-325E1AF71FC0}" type="slidenum">
              <a:rPr lang="en-US" sz="900" smtClean="0">
                <a:solidFill>
                  <a:srgbClr val="0082AA"/>
                </a:solidFill>
              </a:rPr>
              <a:pPr algn="r" defTabSz="913953" eaLnBrk="1" fontAlgn="base" hangingPunct="1">
                <a:lnSpc>
                  <a:spcPct val="90000"/>
                </a:lnSpc>
                <a:spcBef>
                  <a:spcPct val="0"/>
                </a:spcBef>
                <a:spcAft>
                  <a:spcPct val="0"/>
                </a:spcAft>
                <a:defRPr/>
              </a:pPr>
              <a:t>‹#›</a:t>
            </a:fld>
            <a:r>
              <a:rPr lang="en-US" sz="900">
                <a:solidFill>
                  <a:srgbClr val="0082AA"/>
                </a:solidFill>
              </a:rPr>
              <a:t> </a:t>
            </a:r>
          </a:p>
        </p:txBody>
      </p:sp>
      <p:sp>
        <p:nvSpPr>
          <p:cNvPr id="7" name="Footer Placeholder 4"/>
          <p:cNvSpPr>
            <a:spLocks noGrp="1"/>
          </p:cNvSpPr>
          <p:nvPr userDrawn="1"/>
        </p:nvSpPr>
        <p:spPr>
          <a:xfrm>
            <a:off x="2286000" y="6503993"/>
            <a:ext cx="4389438" cy="365125"/>
          </a:xfrm>
          <a:prstGeom prst="rect">
            <a:avLst/>
          </a:prstGeom>
        </p:spPr>
        <p:txBody>
          <a:bodyPr lIns="91395" tIns="45699" rIns="91395" bIns="45699"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800" i="1">
                <a:solidFill>
                  <a:srgbClr val="0082AA"/>
                </a:solidFill>
                <a:latin typeface="Calibri" pitchFamily="34" charset="0"/>
                <a:cs typeface="Calibri" pitchFamily="34" charset="0"/>
              </a:rPr>
              <a:t>For Internal Discussion Purposes Only</a:t>
            </a:r>
          </a:p>
        </p:txBody>
      </p:sp>
      <p:cxnSp>
        <p:nvCxnSpPr>
          <p:cNvPr id="8" name="Straight Connector 7"/>
          <p:cNvCxnSpPr/>
          <p:nvPr userDrawn="1"/>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sp>
        <p:nvSpPr>
          <p:cNvPr id="9" name="TextBox 8"/>
          <p:cNvSpPr txBox="1">
            <a:spLocks noChangeArrowheads="1"/>
          </p:cNvSpPr>
          <p:nvPr userDrawn="1"/>
        </p:nvSpPr>
        <p:spPr bwMode="auto">
          <a:xfrm>
            <a:off x="5638800" y="18"/>
            <a:ext cx="3505200" cy="28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spcBef>
                <a:spcPct val="0"/>
              </a:spcBef>
              <a:spcAft>
                <a:spcPct val="0"/>
              </a:spcAft>
              <a:defRPr/>
            </a:pPr>
            <a:r>
              <a:rPr lang="en-US" sz="1200" b="1">
                <a:solidFill>
                  <a:srgbClr val="FF0000"/>
                </a:solidFill>
              </a:rPr>
              <a:t>Draft Dec 19 2012</a:t>
            </a:r>
          </a:p>
        </p:txBody>
      </p:sp>
      <p:sp>
        <p:nvSpPr>
          <p:cNvPr id="2" name="Title 1"/>
          <p:cNvSpPr>
            <a:spLocks noGrp="1"/>
          </p:cNvSpPr>
          <p:nvPr>
            <p:ph type="title"/>
          </p:nvPr>
        </p:nvSpPr>
        <p:spPr>
          <a:xfrm>
            <a:off x="1219200" y="457223"/>
            <a:ext cx="7620000" cy="384175"/>
          </a:xfrm>
          <a:prstGeom prst="rect">
            <a:avLst/>
          </a:prstGeom>
        </p:spPr>
        <p:txBody>
          <a:bodyPr lIns="91395" tIns="45699" rIns="91395" bIns="45699"/>
          <a:lstStyle/>
          <a:p>
            <a:r>
              <a:rPr lang="en-US"/>
              <a:t>Click to edit Master title style</a:t>
            </a:r>
          </a:p>
        </p:txBody>
      </p:sp>
      <p:sp>
        <p:nvSpPr>
          <p:cNvPr id="3" name="Table Placeholder 2"/>
          <p:cNvSpPr>
            <a:spLocks noGrp="1"/>
          </p:cNvSpPr>
          <p:nvPr>
            <p:ph type="tbl" idx="1"/>
          </p:nvPr>
        </p:nvSpPr>
        <p:spPr>
          <a:xfrm>
            <a:off x="1219203" y="1143001"/>
            <a:ext cx="7467600" cy="3614739"/>
          </a:xfrm>
          <a:prstGeom prst="rect">
            <a:avLst/>
          </a:prstGeom>
        </p:spPr>
        <p:txBody>
          <a:bodyPr lIns="91395" tIns="45699" rIns="91395" bIns="45699"/>
          <a:lstStyle/>
          <a:p>
            <a:pPr lvl="0"/>
            <a:endParaRPr lang="en-US" noProof="0"/>
          </a:p>
        </p:txBody>
      </p:sp>
    </p:spTree>
    <p:extLst>
      <p:ext uri="{BB962C8B-B14F-4D97-AF65-F5344CB8AC3E}">
        <p14:creationId xmlns:p14="http://schemas.microsoft.com/office/powerpoint/2010/main" val="1331806279"/>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xAndObj" preserve="1">
  <p:cSld name="Title, Text,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93" y="1594"/>
          <a:ext cx="1587" cy="1587"/>
        </p:xfrm>
        <a:graphic>
          <a:graphicData uri="http://schemas.openxmlformats.org/presentationml/2006/ole">
            <mc:AlternateContent xmlns:mc="http://schemas.openxmlformats.org/markup-compatibility/2006">
              <mc:Choice xmlns:v="urn:schemas-microsoft-com:vml" Requires="v">
                <p:oleObj spid="_x0000_s61441" name="think-cell Slide" r:id="rId4" imgW="360" imgH="360" progId="TCLayout.ActiveDocument.1">
                  <p:embed/>
                </p:oleObj>
              </mc:Choice>
              <mc:Fallback>
                <p:oleObj name="think-cell Slide" r:id="rId4" imgW="360" imgH="360" progId="TCLayout.ActiveDocument.1">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3"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0" descr="PGE_SpotlightLogobl_PPT"/>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00" y="71442"/>
            <a:ext cx="6096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8"/>
          <p:cNvSpPr txBox="1">
            <a:spLocks noChangeArrowheads="1"/>
          </p:cNvSpPr>
          <p:nvPr userDrawn="1"/>
        </p:nvSpPr>
        <p:spPr bwMode="auto">
          <a:xfrm>
            <a:off x="6688139" y="6640514"/>
            <a:ext cx="2455862" cy="222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lnSpc>
                <a:spcPct val="90000"/>
              </a:lnSpc>
              <a:spcBef>
                <a:spcPct val="0"/>
              </a:spcBef>
              <a:spcAft>
                <a:spcPct val="0"/>
              </a:spcAft>
              <a:defRPr/>
            </a:pPr>
            <a:fld id="{5780493B-8F03-4E02-95A1-0A6A238A505E}" type="slidenum">
              <a:rPr lang="en-US" sz="900" smtClean="0">
                <a:solidFill>
                  <a:srgbClr val="0082AA"/>
                </a:solidFill>
              </a:rPr>
              <a:pPr algn="r" defTabSz="913953" eaLnBrk="1" fontAlgn="base" hangingPunct="1">
                <a:lnSpc>
                  <a:spcPct val="90000"/>
                </a:lnSpc>
                <a:spcBef>
                  <a:spcPct val="0"/>
                </a:spcBef>
                <a:spcAft>
                  <a:spcPct val="0"/>
                </a:spcAft>
                <a:defRPr/>
              </a:pPr>
              <a:t>‹#›</a:t>
            </a:fld>
            <a:r>
              <a:rPr lang="en-US" sz="900">
                <a:solidFill>
                  <a:srgbClr val="0082AA"/>
                </a:solidFill>
              </a:rPr>
              <a:t> </a:t>
            </a:r>
          </a:p>
        </p:txBody>
      </p:sp>
      <p:sp>
        <p:nvSpPr>
          <p:cNvPr id="8" name="Footer Placeholder 4"/>
          <p:cNvSpPr>
            <a:spLocks noGrp="1"/>
          </p:cNvSpPr>
          <p:nvPr userDrawn="1"/>
        </p:nvSpPr>
        <p:spPr>
          <a:xfrm>
            <a:off x="2286000" y="6503993"/>
            <a:ext cx="4389438" cy="365125"/>
          </a:xfrm>
          <a:prstGeom prst="rect">
            <a:avLst/>
          </a:prstGeom>
        </p:spPr>
        <p:txBody>
          <a:bodyPr lIns="91395" tIns="45699" rIns="91395" bIns="45699"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800" i="1">
                <a:solidFill>
                  <a:srgbClr val="0082AA"/>
                </a:solidFill>
                <a:latin typeface="Calibri" pitchFamily="34" charset="0"/>
                <a:cs typeface="Calibri" pitchFamily="34" charset="0"/>
              </a:rPr>
              <a:t>For Internal Discussion Purposes Only</a:t>
            </a:r>
          </a:p>
        </p:txBody>
      </p:sp>
      <p:cxnSp>
        <p:nvCxnSpPr>
          <p:cNvPr id="9" name="Straight Connector 8"/>
          <p:cNvCxnSpPr/>
          <p:nvPr userDrawn="1"/>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sp>
        <p:nvSpPr>
          <p:cNvPr id="10" name="TextBox 3"/>
          <p:cNvSpPr txBox="1">
            <a:spLocks noChangeArrowheads="1"/>
          </p:cNvSpPr>
          <p:nvPr userDrawn="1"/>
        </p:nvSpPr>
        <p:spPr bwMode="auto">
          <a:xfrm>
            <a:off x="5638800" y="18"/>
            <a:ext cx="3505200" cy="28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spcBef>
                <a:spcPct val="0"/>
              </a:spcBef>
              <a:spcAft>
                <a:spcPct val="0"/>
              </a:spcAft>
              <a:defRPr/>
            </a:pPr>
            <a:r>
              <a:rPr lang="en-US" sz="1200" b="1">
                <a:solidFill>
                  <a:srgbClr val="FF0000"/>
                </a:solidFill>
              </a:rPr>
              <a:t>Draft Dec 19 2012</a:t>
            </a:r>
          </a:p>
        </p:txBody>
      </p:sp>
      <p:sp>
        <p:nvSpPr>
          <p:cNvPr id="2" name="Title 1"/>
          <p:cNvSpPr>
            <a:spLocks noGrp="1"/>
          </p:cNvSpPr>
          <p:nvPr>
            <p:ph type="title"/>
          </p:nvPr>
        </p:nvSpPr>
        <p:spPr>
          <a:xfrm>
            <a:off x="1219200" y="457223"/>
            <a:ext cx="7620000" cy="384175"/>
          </a:xfrm>
          <a:prstGeom prst="rect">
            <a:avLst/>
          </a:prstGeom>
        </p:spPr>
        <p:txBody>
          <a:bodyPr lIns="91395" tIns="45699" rIns="91395" bIns="45699"/>
          <a:lstStyle/>
          <a:p>
            <a:r>
              <a:rPr lang="en-US"/>
              <a:t>Click to edit Master title style</a:t>
            </a:r>
          </a:p>
        </p:txBody>
      </p:sp>
      <p:sp>
        <p:nvSpPr>
          <p:cNvPr id="3" name="Text Placeholder 2"/>
          <p:cNvSpPr>
            <a:spLocks noGrp="1"/>
          </p:cNvSpPr>
          <p:nvPr>
            <p:ph type="body" sz="half" idx="1"/>
          </p:nvPr>
        </p:nvSpPr>
        <p:spPr>
          <a:xfrm>
            <a:off x="1219202" y="1143001"/>
            <a:ext cx="3657600" cy="3614739"/>
          </a:xfrm>
          <a:prstGeom prst="rect">
            <a:avLst/>
          </a:prstGeom>
        </p:spPr>
        <p:txBody>
          <a:bodyPr lIns="91395" tIns="45699" rIns="91395" bIns="456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29204" y="1143001"/>
            <a:ext cx="3657600" cy="3614739"/>
          </a:xfrm>
          <a:prstGeom prst="rect">
            <a:avLst/>
          </a:prstGeom>
        </p:spPr>
        <p:txBody>
          <a:bodyPr lIns="91395" tIns="45699" rIns="91395" bIns="456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2064090"/>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fourObj" preserve="1">
  <p:cSld name="Title and 4 Content">
    <p:spTree>
      <p:nvGrpSpPr>
        <p:cNvPr id="1" name=""/>
        <p:cNvGrpSpPr/>
        <p:nvPr/>
      </p:nvGrpSpPr>
      <p:grpSpPr>
        <a:xfrm>
          <a:off x="0" y="0"/>
          <a:ext cx="0" cy="0"/>
          <a:chOff x="0" y="0"/>
          <a:chExt cx="0" cy="0"/>
        </a:xfrm>
      </p:grpSpPr>
      <p:graphicFrame>
        <p:nvGraphicFramePr>
          <p:cNvPr id="7" name="Object 1" hidden="1"/>
          <p:cNvGraphicFramePr>
            <a:graphicFrameLocks noChangeAspect="1"/>
          </p:cNvGraphicFramePr>
          <p:nvPr userDrawn="1">
            <p:custDataLst>
              <p:tags r:id="rId2"/>
            </p:custDataLst>
          </p:nvPr>
        </p:nvGraphicFramePr>
        <p:xfrm>
          <a:off x="1593" y="1594"/>
          <a:ext cx="1587" cy="1587"/>
        </p:xfrm>
        <a:graphic>
          <a:graphicData uri="http://schemas.openxmlformats.org/presentationml/2006/ole">
            <mc:AlternateContent xmlns:mc="http://schemas.openxmlformats.org/markup-compatibility/2006">
              <mc:Choice xmlns:v="urn:schemas-microsoft-com:vml" Requires="v">
                <p:oleObj spid="_x0000_s62465" name="think-cell Slide" r:id="rId4" imgW="360" imgH="360" progId="TCLayout.ActiveDocument.1">
                  <p:embed/>
                </p:oleObj>
              </mc:Choice>
              <mc:Fallback>
                <p:oleObj name="think-cell Slide" r:id="rId4" imgW="360" imgH="360" progId="TCLayout.ActiveDocument.1">
                  <p:embed/>
                  <p:pic>
                    <p:nvPicPr>
                      <p:cNvPr id="7"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3"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0" descr="PGE_SpotlightLogobl_PPT"/>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00" y="71442"/>
            <a:ext cx="6096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8"/>
          <p:cNvSpPr txBox="1">
            <a:spLocks noChangeArrowheads="1"/>
          </p:cNvSpPr>
          <p:nvPr userDrawn="1"/>
        </p:nvSpPr>
        <p:spPr bwMode="auto">
          <a:xfrm>
            <a:off x="6688139" y="6640514"/>
            <a:ext cx="2455862" cy="222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lnSpc>
                <a:spcPct val="90000"/>
              </a:lnSpc>
              <a:spcBef>
                <a:spcPct val="0"/>
              </a:spcBef>
              <a:spcAft>
                <a:spcPct val="0"/>
              </a:spcAft>
              <a:defRPr/>
            </a:pPr>
            <a:fld id="{CD5BAD8B-4BE0-488A-9DD3-BF80EAF3A775}" type="slidenum">
              <a:rPr lang="en-US" sz="900" smtClean="0">
                <a:solidFill>
                  <a:srgbClr val="0082AA"/>
                </a:solidFill>
              </a:rPr>
              <a:pPr algn="r" defTabSz="913953" eaLnBrk="1" fontAlgn="base" hangingPunct="1">
                <a:lnSpc>
                  <a:spcPct val="90000"/>
                </a:lnSpc>
                <a:spcBef>
                  <a:spcPct val="0"/>
                </a:spcBef>
                <a:spcAft>
                  <a:spcPct val="0"/>
                </a:spcAft>
                <a:defRPr/>
              </a:pPr>
              <a:t>‹#›</a:t>
            </a:fld>
            <a:r>
              <a:rPr lang="en-US" sz="900">
                <a:solidFill>
                  <a:srgbClr val="0082AA"/>
                </a:solidFill>
              </a:rPr>
              <a:t> </a:t>
            </a:r>
          </a:p>
        </p:txBody>
      </p:sp>
      <p:sp>
        <p:nvSpPr>
          <p:cNvPr id="10" name="Footer Placeholder 4"/>
          <p:cNvSpPr>
            <a:spLocks noGrp="1"/>
          </p:cNvSpPr>
          <p:nvPr userDrawn="1"/>
        </p:nvSpPr>
        <p:spPr>
          <a:xfrm>
            <a:off x="2286000" y="6503993"/>
            <a:ext cx="4389438" cy="365125"/>
          </a:xfrm>
          <a:prstGeom prst="rect">
            <a:avLst/>
          </a:prstGeom>
        </p:spPr>
        <p:txBody>
          <a:bodyPr lIns="91395" tIns="45699" rIns="91395" bIns="45699"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800" i="1">
                <a:solidFill>
                  <a:srgbClr val="0082AA"/>
                </a:solidFill>
                <a:latin typeface="Calibri" pitchFamily="34" charset="0"/>
                <a:cs typeface="Calibri" pitchFamily="34" charset="0"/>
              </a:rPr>
              <a:t>For Internal Discussion Purposes Only</a:t>
            </a:r>
          </a:p>
        </p:txBody>
      </p:sp>
      <p:cxnSp>
        <p:nvCxnSpPr>
          <p:cNvPr id="11" name="Straight Connector 10"/>
          <p:cNvCxnSpPr/>
          <p:nvPr userDrawn="1"/>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sp>
        <p:nvSpPr>
          <p:cNvPr id="12" name="TextBox 3"/>
          <p:cNvSpPr txBox="1">
            <a:spLocks noChangeArrowheads="1"/>
          </p:cNvSpPr>
          <p:nvPr userDrawn="1"/>
        </p:nvSpPr>
        <p:spPr bwMode="auto">
          <a:xfrm>
            <a:off x="5638800" y="18"/>
            <a:ext cx="3505200" cy="28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spcBef>
                <a:spcPct val="0"/>
              </a:spcBef>
              <a:spcAft>
                <a:spcPct val="0"/>
              </a:spcAft>
              <a:defRPr/>
            </a:pPr>
            <a:r>
              <a:rPr lang="en-US" sz="1200" b="1">
                <a:solidFill>
                  <a:srgbClr val="FF0000"/>
                </a:solidFill>
              </a:rPr>
              <a:t>Draft Dec 19 2012</a:t>
            </a:r>
          </a:p>
        </p:txBody>
      </p:sp>
      <p:sp>
        <p:nvSpPr>
          <p:cNvPr id="2" name="Title 1"/>
          <p:cNvSpPr>
            <a:spLocks noGrp="1"/>
          </p:cNvSpPr>
          <p:nvPr>
            <p:ph type="title" sz="quarter"/>
          </p:nvPr>
        </p:nvSpPr>
        <p:spPr>
          <a:xfrm>
            <a:off x="1219200" y="457223"/>
            <a:ext cx="7620000" cy="384175"/>
          </a:xfrm>
          <a:prstGeom prst="rect">
            <a:avLst/>
          </a:prstGeom>
        </p:spPr>
        <p:txBody>
          <a:bodyPr lIns="91395" tIns="45699" rIns="91395" bIns="45699"/>
          <a:lstStyle/>
          <a:p>
            <a:r>
              <a:rPr lang="en-US"/>
              <a:t>Click to edit Master title style</a:t>
            </a:r>
          </a:p>
        </p:txBody>
      </p:sp>
      <p:sp>
        <p:nvSpPr>
          <p:cNvPr id="3" name="Content Placeholder 2"/>
          <p:cNvSpPr>
            <a:spLocks noGrp="1"/>
          </p:cNvSpPr>
          <p:nvPr>
            <p:ph sz="quarter" idx="1"/>
          </p:nvPr>
        </p:nvSpPr>
        <p:spPr>
          <a:xfrm>
            <a:off x="1219202" y="1143021"/>
            <a:ext cx="3657600" cy="1730375"/>
          </a:xfrm>
          <a:prstGeom prst="rect">
            <a:avLst/>
          </a:prstGeom>
        </p:spPr>
        <p:txBody>
          <a:bodyPr lIns="91395" tIns="45699" rIns="91395" bIns="456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029204" y="1143021"/>
            <a:ext cx="3657600" cy="1730375"/>
          </a:xfrm>
          <a:prstGeom prst="rect">
            <a:avLst/>
          </a:prstGeom>
        </p:spPr>
        <p:txBody>
          <a:bodyPr lIns="91395" tIns="45699" rIns="91395" bIns="456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1219202" y="3025782"/>
            <a:ext cx="3657600" cy="1731963"/>
          </a:xfrm>
          <a:prstGeom prst="rect">
            <a:avLst/>
          </a:prstGeom>
        </p:spPr>
        <p:txBody>
          <a:bodyPr lIns="91395" tIns="45699" rIns="91395" bIns="456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5029204" y="3025782"/>
            <a:ext cx="3657600" cy="1731963"/>
          </a:xfrm>
          <a:prstGeom prst="rect">
            <a:avLst/>
          </a:prstGeom>
        </p:spPr>
        <p:txBody>
          <a:bodyPr lIns="91395" tIns="45699" rIns="91395" bIns="456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9067747"/>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xAndClipArt" preserve="1">
  <p:cSld name="Title, Text and Clip Ar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93" y="1594"/>
          <a:ext cx="1587" cy="1587"/>
        </p:xfrm>
        <a:graphic>
          <a:graphicData uri="http://schemas.openxmlformats.org/presentationml/2006/ole">
            <mc:AlternateContent xmlns:mc="http://schemas.openxmlformats.org/markup-compatibility/2006">
              <mc:Choice xmlns:v="urn:schemas-microsoft-com:vml" Requires="v">
                <p:oleObj spid="_x0000_s63489" name="think-cell Slide" r:id="rId4" imgW="360" imgH="360" progId="TCLayout.ActiveDocument.1">
                  <p:embed/>
                </p:oleObj>
              </mc:Choice>
              <mc:Fallback>
                <p:oleObj name="think-cell Slide" r:id="rId4" imgW="360" imgH="360" progId="TCLayout.ActiveDocument.1">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3"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0" descr="PGE_SpotlightLogobl_PPT"/>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00" y="71442"/>
            <a:ext cx="6096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8"/>
          <p:cNvSpPr txBox="1">
            <a:spLocks noChangeArrowheads="1"/>
          </p:cNvSpPr>
          <p:nvPr userDrawn="1"/>
        </p:nvSpPr>
        <p:spPr bwMode="auto">
          <a:xfrm>
            <a:off x="6688139" y="6640514"/>
            <a:ext cx="2455862" cy="222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lnSpc>
                <a:spcPct val="90000"/>
              </a:lnSpc>
              <a:spcBef>
                <a:spcPct val="0"/>
              </a:spcBef>
              <a:spcAft>
                <a:spcPct val="0"/>
              </a:spcAft>
              <a:defRPr/>
            </a:pPr>
            <a:fld id="{7777823C-81B4-4B32-832E-7308330F393E}" type="slidenum">
              <a:rPr lang="en-US" sz="900" smtClean="0">
                <a:solidFill>
                  <a:srgbClr val="0082AA"/>
                </a:solidFill>
              </a:rPr>
              <a:pPr algn="r" defTabSz="913953" eaLnBrk="1" fontAlgn="base" hangingPunct="1">
                <a:lnSpc>
                  <a:spcPct val="90000"/>
                </a:lnSpc>
                <a:spcBef>
                  <a:spcPct val="0"/>
                </a:spcBef>
                <a:spcAft>
                  <a:spcPct val="0"/>
                </a:spcAft>
                <a:defRPr/>
              </a:pPr>
              <a:t>‹#›</a:t>
            </a:fld>
            <a:r>
              <a:rPr lang="en-US" sz="900">
                <a:solidFill>
                  <a:srgbClr val="0082AA"/>
                </a:solidFill>
              </a:rPr>
              <a:t> </a:t>
            </a:r>
          </a:p>
        </p:txBody>
      </p:sp>
      <p:sp>
        <p:nvSpPr>
          <p:cNvPr id="8" name="Footer Placeholder 4"/>
          <p:cNvSpPr>
            <a:spLocks noGrp="1"/>
          </p:cNvSpPr>
          <p:nvPr userDrawn="1"/>
        </p:nvSpPr>
        <p:spPr>
          <a:xfrm>
            <a:off x="2286000" y="6503993"/>
            <a:ext cx="4389438" cy="365125"/>
          </a:xfrm>
          <a:prstGeom prst="rect">
            <a:avLst/>
          </a:prstGeom>
        </p:spPr>
        <p:txBody>
          <a:bodyPr lIns="91395" tIns="45699" rIns="91395" bIns="45699"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800" i="1">
                <a:solidFill>
                  <a:srgbClr val="0082AA"/>
                </a:solidFill>
                <a:latin typeface="Calibri" pitchFamily="34" charset="0"/>
                <a:cs typeface="Calibri" pitchFamily="34" charset="0"/>
              </a:rPr>
              <a:t>For Internal Discussion Purposes Only</a:t>
            </a:r>
          </a:p>
        </p:txBody>
      </p:sp>
      <p:cxnSp>
        <p:nvCxnSpPr>
          <p:cNvPr id="9" name="Straight Connector 8"/>
          <p:cNvCxnSpPr/>
          <p:nvPr userDrawn="1"/>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sp>
        <p:nvSpPr>
          <p:cNvPr id="10" name="TextBox 3"/>
          <p:cNvSpPr txBox="1">
            <a:spLocks noChangeArrowheads="1"/>
          </p:cNvSpPr>
          <p:nvPr userDrawn="1"/>
        </p:nvSpPr>
        <p:spPr bwMode="auto">
          <a:xfrm>
            <a:off x="5638800" y="18"/>
            <a:ext cx="3505200" cy="28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spcBef>
                <a:spcPct val="0"/>
              </a:spcBef>
              <a:spcAft>
                <a:spcPct val="0"/>
              </a:spcAft>
              <a:defRPr/>
            </a:pPr>
            <a:r>
              <a:rPr lang="en-US" sz="1200" b="1">
                <a:solidFill>
                  <a:srgbClr val="FF0000"/>
                </a:solidFill>
              </a:rPr>
              <a:t>Draft Dec 19 2012</a:t>
            </a:r>
          </a:p>
        </p:txBody>
      </p:sp>
      <p:sp>
        <p:nvSpPr>
          <p:cNvPr id="2" name="Title 1"/>
          <p:cNvSpPr>
            <a:spLocks noGrp="1"/>
          </p:cNvSpPr>
          <p:nvPr>
            <p:ph type="title"/>
          </p:nvPr>
        </p:nvSpPr>
        <p:spPr>
          <a:xfrm>
            <a:off x="1219200" y="457223"/>
            <a:ext cx="7620000" cy="384175"/>
          </a:xfrm>
          <a:prstGeom prst="rect">
            <a:avLst/>
          </a:prstGeom>
        </p:spPr>
        <p:txBody>
          <a:bodyPr lIns="91395" tIns="45699" rIns="91395" bIns="45699"/>
          <a:lstStyle/>
          <a:p>
            <a:r>
              <a:rPr lang="en-US"/>
              <a:t>Click to edit Master title style</a:t>
            </a:r>
          </a:p>
        </p:txBody>
      </p:sp>
      <p:sp>
        <p:nvSpPr>
          <p:cNvPr id="3" name="Text Placeholder 2"/>
          <p:cNvSpPr>
            <a:spLocks noGrp="1"/>
          </p:cNvSpPr>
          <p:nvPr>
            <p:ph type="body" sz="half" idx="1"/>
          </p:nvPr>
        </p:nvSpPr>
        <p:spPr>
          <a:xfrm>
            <a:off x="1219202" y="1143001"/>
            <a:ext cx="3657600" cy="3614739"/>
          </a:xfrm>
          <a:prstGeom prst="rect">
            <a:avLst/>
          </a:prstGeom>
        </p:spPr>
        <p:txBody>
          <a:bodyPr lIns="91395" tIns="45699" rIns="91395" bIns="4569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5029204" y="1143001"/>
            <a:ext cx="3657600" cy="3614739"/>
          </a:xfrm>
          <a:prstGeom prst="rect">
            <a:avLst/>
          </a:prstGeom>
        </p:spPr>
        <p:txBody>
          <a:bodyPr lIns="91395" tIns="45699" rIns="91395" bIns="45699"/>
          <a:lstStyle/>
          <a:p>
            <a:pPr lvl="0"/>
            <a:endParaRPr lang="en-US" noProof="0"/>
          </a:p>
        </p:txBody>
      </p:sp>
    </p:spTree>
    <p:extLst>
      <p:ext uri="{BB962C8B-B14F-4D97-AF65-F5344CB8AC3E}">
        <p14:creationId xmlns:p14="http://schemas.microsoft.com/office/powerpoint/2010/main" val="1750563511"/>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1593" y="1594"/>
          <a:ext cx="1587" cy="1587"/>
        </p:xfrm>
        <a:graphic>
          <a:graphicData uri="http://schemas.openxmlformats.org/presentationml/2006/ole">
            <mc:AlternateContent xmlns:mc="http://schemas.openxmlformats.org/markup-compatibility/2006">
              <mc:Choice xmlns:v="urn:schemas-microsoft-com:vml" Requires="v">
                <p:oleObj spid="_x0000_s64513" name="think-cell Slide" r:id="rId4" imgW="360" imgH="360" progId="TCLayout.ActiveDocument.1">
                  <p:embed/>
                </p:oleObj>
              </mc:Choice>
              <mc:Fallback>
                <p:oleObj name="think-cell Slide" r:id="rId4" imgW="360" imgH="36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3"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10" descr="PGE_SpotlightLogobl_PPT"/>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00" y="71442"/>
            <a:ext cx="6096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8"/>
          <p:cNvSpPr txBox="1">
            <a:spLocks noChangeArrowheads="1"/>
          </p:cNvSpPr>
          <p:nvPr userDrawn="1"/>
        </p:nvSpPr>
        <p:spPr bwMode="auto">
          <a:xfrm>
            <a:off x="6688139" y="6640514"/>
            <a:ext cx="2455862" cy="222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lnSpc>
                <a:spcPct val="90000"/>
              </a:lnSpc>
              <a:spcBef>
                <a:spcPct val="0"/>
              </a:spcBef>
              <a:spcAft>
                <a:spcPct val="0"/>
              </a:spcAft>
              <a:defRPr/>
            </a:pPr>
            <a:fld id="{CD6BCC01-1D87-43A6-B60D-975A78741955}" type="slidenum">
              <a:rPr lang="en-US" sz="900" smtClean="0">
                <a:solidFill>
                  <a:srgbClr val="0082AA"/>
                </a:solidFill>
              </a:rPr>
              <a:pPr algn="r" defTabSz="913953" eaLnBrk="1" fontAlgn="base" hangingPunct="1">
                <a:lnSpc>
                  <a:spcPct val="90000"/>
                </a:lnSpc>
                <a:spcBef>
                  <a:spcPct val="0"/>
                </a:spcBef>
                <a:spcAft>
                  <a:spcPct val="0"/>
                </a:spcAft>
                <a:defRPr/>
              </a:pPr>
              <a:t>‹#›</a:t>
            </a:fld>
            <a:r>
              <a:rPr lang="en-US" sz="900">
                <a:solidFill>
                  <a:srgbClr val="0082AA"/>
                </a:solidFill>
              </a:rPr>
              <a:t> </a:t>
            </a:r>
          </a:p>
        </p:txBody>
      </p:sp>
      <p:sp>
        <p:nvSpPr>
          <p:cNvPr id="6" name="Footer Placeholder 4"/>
          <p:cNvSpPr>
            <a:spLocks noGrp="1"/>
          </p:cNvSpPr>
          <p:nvPr userDrawn="1"/>
        </p:nvSpPr>
        <p:spPr>
          <a:xfrm>
            <a:off x="2286000" y="6503993"/>
            <a:ext cx="4389438" cy="365125"/>
          </a:xfrm>
          <a:prstGeom prst="rect">
            <a:avLst/>
          </a:prstGeom>
        </p:spPr>
        <p:txBody>
          <a:bodyPr lIns="91395" tIns="45699" rIns="91395" bIns="45699"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800" i="1">
                <a:solidFill>
                  <a:srgbClr val="0082AA"/>
                </a:solidFill>
                <a:latin typeface="Calibri" pitchFamily="34" charset="0"/>
                <a:cs typeface="Calibri" pitchFamily="34" charset="0"/>
              </a:rPr>
              <a:t>For Internal Discussion Purposes Only</a:t>
            </a:r>
          </a:p>
        </p:txBody>
      </p:sp>
      <p:cxnSp>
        <p:nvCxnSpPr>
          <p:cNvPr id="7" name="Straight Connector 6"/>
          <p:cNvCxnSpPr/>
          <p:nvPr userDrawn="1"/>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sp>
        <p:nvSpPr>
          <p:cNvPr id="8" name="TextBox 3"/>
          <p:cNvSpPr txBox="1">
            <a:spLocks noChangeArrowheads="1"/>
          </p:cNvSpPr>
          <p:nvPr userDrawn="1"/>
        </p:nvSpPr>
        <p:spPr bwMode="auto">
          <a:xfrm>
            <a:off x="5638800" y="18"/>
            <a:ext cx="3505200" cy="28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spcBef>
                <a:spcPct val="0"/>
              </a:spcBef>
              <a:spcAft>
                <a:spcPct val="0"/>
              </a:spcAft>
              <a:defRPr/>
            </a:pPr>
            <a:r>
              <a:rPr lang="en-US" sz="1200" b="1">
                <a:solidFill>
                  <a:srgbClr val="FF0000"/>
                </a:solidFill>
              </a:rPr>
              <a:t>Draft Dec 19 2012</a:t>
            </a:r>
          </a:p>
        </p:txBody>
      </p:sp>
      <p:sp>
        <p:nvSpPr>
          <p:cNvPr id="2" name="Title 1"/>
          <p:cNvSpPr>
            <a:spLocks noGrp="1"/>
          </p:cNvSpPr>
          <p:nvPr>
            <p:ph type="title"/>
          </p:nvPr>
        </p:nvSpPr>
        <p:spPr>
          <a:xfrm rot="19742967">
            <a:off x="2205038" y="1971682"/>
            <a:ext cx="7620000" cy="1108075"/>
          </a:xfrm>
          <a:prstGeom prst="rect">
            <a:avLst/>
          </a:prstGeom>
        </p:spPr>
        <p:txBody>
          <a:bodyPr lIns="91395" tIns="45699" rIns="91395" bIns="45699"/>
          <a:lstStyle/>
          <a:p>
            <a:r>
              <a:rPr lang="en-US"/>
              <a:t>Click to edit Master title style</a:t>
            </a:r>
          </a:p>
        </p:txBody>
      </p:sp>
    </p:spTree>
    <p:extLst>
      <p:ext uri="{BB962C8B-B14F-4D97-AF65-F5344CB8AC3E}">
        <p14:creationId xmlns:p14="http://schemas.microsoft.com/office/powerpoint/2010/main" val="110281677"/>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cSld name="Divider Slide">
    <p:spTree>
      <p:nvGrpSpPr>
        <p:cNvPr id="1" name=""/>
        <p:cNvGrpSpPr/>
        <p:nvPr/>
      </p:nvGrpSpPr>
      <p:grpSpPr>
        <a:xfrm>
          <a:off x="0" y="0"/>
          <a:ext cx="0" cy="0"/>
          <a:chOff x="0" y="0"/>
          <a:chExt cx="0" cy="0"/>
        </a:xfrm>
      </p:grpSpPr>
      <p:pic>
        <p:nvPicPr>
          <p:cNvPr id="4" name="Picture 10" descr="PGE_SpotlightLogobl_PP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04802" y="393703"/>
            <a:ext cx="81756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51" name="Rectangle 79"/>
          <p:cNvSpPr>
            <a:spLocks noGrp="1" noChangeArrowheads="1"/>
          </p:cNvSpPr>
          <p:nvPr>
            <p:ph type="subTitle" idx="1"/>
          </p:nvPr>
        </p:nvSpPr>
        <p:spPr>
          <a:xfrm>
            <a:off x="368297" y="2667000"/>
            <a:ext cx="7384014" cy="762000"/>
          </a:xfrm>
          <a:prstGeom prst="rect">
            <a:avLst/>
          </a:prstGeom>
        </p:spPr>
        <p:txBody>
          <a:bodyPr lIns="0" tIns="0" rIns="0" bIns="45699"/>
          <a:lstStyle>
            <a:lvl1pPr marL="0" indent="0" algn="l">
              <a:buNone/>
              <a:defRPr sz="3200" b="0" cap="none" baseline="0">
                <a:solidFill>
                  <a:srgbClr val="0082AA"/>
                </a:solidFill>
                <a:latin typeface="Calibri" pitchFamily="34" charset="0"/>
                <a:cs typeface="Calibri" pitchFamily="34" charset="0"/>
              </a:defRPr>
            </a:lvl1pPr>
          </a:lstStyle>
          <a:p>
            <a:r>
              <a:rPr lang="en-US"/>
              <a:t>Click to edit Master subtitle style</a:t>
            </a:r>
          </a:p>
        </p:txBody>
      </p:sp>
      <p:sp>
        <p:nvSpPr>
          <p:cNvPr id="3074" name="Rectangle 2"/>
          <p:cNvSpPr>
            <a:spLocks noGrp="1" noChangeArrowheads="1"/>
          </p:cNvSpPr>
          <p:nvPr>
            <p:ph type="ctrTitle"/>
          </p:nvPr>
        </p:nvSpPr>
        <p:spPr>
          <a:xfrm>
            <a:off x="352434" y="2057601"/>
            <a:ext cx="8334375" cy="609398"/>
          </a:xfrm>
          <a:prstGeom prst="rect">
            <a:avLst/>
          </a:prstGeom>
        </p:spPr>
        <p:txBody>
          <a:bodyPr wrap="square" lIns="0" tIns="0" rIns="0" bIns="0" anchor="t">
            <a:spAutoFit/>
          </a:bodyPr>
          <a:lstStyle>
            <a:lvl1pPr algn="l">
              <a:defRPr sz="4400">
                <a:solidFill>
                  <a:srgbClr val="0082AA"/>
                </a:solidFill>
                <a:latin typeface="Calibri" pitchFamily="34" charset="0"/>
                <a:cs typeface="Calibri" pitchFamily="34" charset="0"/>
              </a:defRPr>
            </a:lvl1pPr>
          </a:lstStyle>
          <a:p>
            <a:r>
              <a:rPr lang="en-US"/>
              <a:t>Click to edit Master title style</a:t>
            </a:r>
          </a:p>
        </p:txBody>
      </p:sp>
    </p:spTree>
    <p:extLst>
      <p:ext uri="{BB962C8B-B14F-4D97-AF65-F5344CB8AC3E}">
        <p14:creationId xmlns:p14="http://schemas.microsoft.com/office/powerpoint/2010/main" val="35008385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914400" y="200025"/>
            <a:ext cx="8001000" cy="492579"/>
          </a:xfrm>
          <a:prstGeom prst="rect">
            <a:avLst/>
          </a:prstGeom>
        </p:spPr>
        <p:txBody>
          <a:bodyPr lIns="91395" tIns="45699" rIns="91395" bIns="45699"/>
          <a:lstStyle>
            <a:lvl1pPr algn="r">
              <a:defRPr sz="3600">
                <a:latin typeface="Calibri" panose="020F0502020204030204" pitchFamily="34" charset="0"/>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33696453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70836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67748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41474" y="-4760"/>
            <a:ext cx="7450137" cy="795339"/>
          </a:xfrm>
          <a:prstGeom prst="rect">
            <a:avLst/>
          </a:prstGeom>
        </p:spPr>
        <p:txBody>
          <a:bodyPr lIns="91395" tIns="45699" rIns="91395" bIns="45699"/>
          <a:lstStyle/>
          <a:p>
            <a:r>
              <a:rPr lang="en-US"/>
              <a:t>Click to edit Master title style</a:t>
            </a:r>
          </a:p>
        </p:txBody>
      </p:sp>
      <p:sp>
        <p:nvSpPr>
          <p:cNvPr id="3" name="Content Placeholder 2"/>
          <p:cNvSpPr>
            <a:spLocks noGrp="1"/>
          </p:cNvSpPr>
          <p:nvPr>
            <p:ph idx="1"/>
          </p:nvPr>
        </p:nvSpPr>
        <p:spPr>
          <a:xfrm>
            <a:off x="457200" y="1250951"/>
            <a:ext cx="8229600" cy="4679951"/>
          </a:xfrm>
          <a:prstGeom prst="rect">
            <a:avLst/>
          </a:prstGeom>
        </p:spPr>
        <p:txBody>
          <a:bodyPr lIns="91395" tIns="45699" rIns="91395" bIns="45699"/>
          <a:lstStyle>
            <a:lvl1pPr marL="0" inden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4656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Divider Slide">
    <p:spTree>
      <p:nvGrpSpPr>
        <p:cNvPr id="1" name=""/>
        <p:cNvGrpSpPr/>
        <p:nvPr/>
      </p:nvGrpSpPr>
      <p:grpSpPr>
        <a:xfrm>
          <a:off x="0" y="0"/>
          <a:ext cx="0" cy="0"/>
          <a:chOff x="0" y="0"/>
          <a:chExt cx="0" cy="0"/>
        </a:xfrm>
      </p:grpSpPr>
      <p:grpSp>
        <p:nvGrpSpPr>
          <p:cNvPr id="4" name="Group 55"/>
          <p:cNvGrpSpPr>
            <a:grpSpLocks/>
          </p:cNvGrpSpPr>
          <p:nvPr/>
        </p:nvGrpSpPr>
        <p:grpSpPr bwMode="auto">
          <a:xfrm>
            <a:off x="457221" y="2362200"/>
            <a:ext cx="817563" cy="838200"/>
            <a:chOff x="18142" y="955"/>
            <a:chExt cx="2084" cy="2140"/>
          </a:xfrm>
        </p:grpSpPr>
        <p:sp>
          <p:nvSpPr>
            <p:cNvPr id="5" name="Rectangle 56"/>
            <p:cNvSpPr>
              <a:spLocks noChangeArrowheads="1"/>
            </p:cNvSpPr>
            <p:nvPr/>
          </p:nvSpPr>
          <p:spPr bwMode="auto">
            <a:xfrm>
              <a:off x="18142" y="955"/>
              <a:ext cx="1870"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6" name="Freeform 57"/>
            <p:cNvSpPr>
              <a:spLocks/>
            </p:cNvSpPr>
            <p:nvPr/>
          </p:nvSpPr>
          <p:spPr bwMode="auto">
            <a:xfrm>
              <a:off x="19101" y="2390"/>
              <a:ext cx="397" cy="620"/>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7" name="Freeform 58"/>
            <p:cNvSpPr>
              <a:spLocks/>
            </p:cNvSpPr>
            <p:nvPr/>
          </p:nvSpPr>
          <p:spPr bwMode="auto">
            <a:xfrm>
              <a:off x="19222" y="2738"/>
              <a:ext cx="166" cy="170"/>
            </a:xfrm>
            <a:custGeom>
              <a:avLst/>
              <a:gdLst>
                <a:gd name="T0" fmla="*/ 0 w 336"/>
                <a:gd name="T1" fmla="*/ 0 h 343"/>
                <a:gd name="T2" fmla="*/ 0 w 336"/>
                <a:gd name="T3" fmla="*/ 0 h 343"/>
                <a:gd name="T4" fmla="*/ 0 w 336"/>
                <a:gd name="T5" fmla="*/ 0 h 343"/>
                <a:gd name="T6" fmla="*/ 0 w 336"/>
                <a:gd name="T7" fmla="*/ 0 h 343"/>
                <a:gd name="T8" fmla="*/ 0 w 336"/>
                <a:gd name="T9" fmla="*/ 0 h 343"/>
                <a:gd name="T10" fmla="*/ 0 w 336"/>
                <a:gd name="T11" fmla="*/ 0 h 343"/>
                <a:gd name="T12" fmla="*/ 0 w 336"/>
                <a:gd name="T13" fmla="*/ 0 h 343"/>
                <a:gd name="T14" fmla="*/ 0 w 336"/>
                <a:gd name="T15" fmla="*/ 0 h 343"/>
                <a:gd name="T16" fmla="*/ 0 w 336"/>
                <a:gd name="T17" fmla="*/ 0 h 343"/>
                <a:gd name="T18" fmla="*/ 0 w 336"/>
                <a:gd name="T19" fmla="*/ 0 h 343"/>
                <a:gd name="T20" fmla="*/ 0 w 336"/>
                <a:gd name="T21" fmla="*/ 0 h 343"/>
                <a:gd name="T22" fmla="*/ 0 w 336"/>
                <a:gd name="T23" fmla="*/ 0 h 343"/>
                <a:gd name="T24" fmla="*/ 0 w 336"/>
                <a:gd name="T25" fmla="*/ 0 h 343"/>
                <a:gd name="T26" fmla="*/ 0 w 336"/>
                <a:gd name="T27" fmla="*/ 0 h 343"/>
                <a:gd name="T28" fmla="*/ 0 w 336"/>
                <a:gd name="T29" fmla="*/ 0 h 343"/>
                <a:gd name="T30" fmla="*/ 0 w 336"/>
                <a:gd name="T31" fmla="*/ 0 h 343"/>
                <a:gd name="T32" fmla="*/ 0 w 336"/>
                <a:gd name="T33" fmla="*/ 0 h 343"/>
                <a:gd name="T34" fmla="*/ 0 w 336"/>
                <a:gd name="T35" fmla="*/ 0 h 343"/>
                <a:gd name="T36" fmla="*/ 0 w 336"/>
                <a:gd name="T37" fmla="*/ 0 h 343"/>
                <a:gd name="T38" fmla="*/ 0 w 336"/>
                <a:gd name="T39" fmla="*/ 0 h 343"/>
                <a:gd name="T40" fmla="*/ 0 w 336"/>
                <a:gd name="T41" fmla="*/ 0 h 343"/>
                <a:gd name="T42" fmla="*/ 0 w 336"/>
                <a:gd name="T43" fmla="*/ 0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8" name="Freeform 59"/>
            <p:cNvSpPr>
              <a:spLocks/>
            </p:cNvSpPr>
            <p:nvPr/>
          </p:nvSpPr>
          <p:spPr bwMode="auto">
            <a:xfrm>
              <a:off x="19538" y="1036"/>
              <a:ext cx="393" cy="1982"/>
            </a:xfrm>
            <a:custGeom>
              <a:avLst/>
              <a:gdLst>
                <a:gd name="T0" fmla="*/ 0 w 785"/>
                <a:gd name="T1" fmla="*/ 0 h 3959"/>
                <a:gd name="T2" fmla="*/ 0 w 785"/>
                <a:gd name="T3" fmla="*/ 1 h 3959"/>
                <a:gd name="T4" fmla="*/ 1 w 785"/>
                <a:gd name="T5" fmla="*/ 1 h 3959"/>
                <a:gd name="T6" fmla="*/ 1 w 785"/>
                <a:gd name="T7" fmla="*/ 1 h 3959"/>
                <a:gd name="T8" fmla="*/ 1 w 785"/>
                <a:gd name="T9" fmla="*/ 1 h 3959"/>
                <a:gd name="T10" fmla="*/ 1 w 785"/>
                <a:gd name="T11" fmla="*/ 1 h 3959"/>
                <a:gd name="T12" fmla="*/ 1 w 785"/>
                <a:gd name="T13" fmla="*/ 1 h 3959"/>
                <a:gd name="T14" fmla="*/ 1 w 785"/>
                <a:gd name="T15" fmla="*/ 1 h 3959"/>
                <a:gd name="T16" fmla="*/ 1 w 785"/>
                <a:gd name="T17" fmla="*/ 1 h 3959"/>
                <a:gd name="T18" fmla="*/ 1 w 785"/>
                <a:gd name="T19" fmla="*/ 1 h 3959"/>
                <a:gd name="T20" fmla="*/ 1 w 785"/>
                <a:gd name="T21" fmla="*/ 1 h 3959"/>
                <a:gd name="T22" fmla="*/ 1 w 785"/>
                <a:gd name="T23" fmla="*/ 1 h 3959"/>
                <a:gd name="T24" fmla="*/ 1 w 785"/>
                <a:gd name="T25" fmla="*/ 1 h 3959"/>
                <a:gd name="T26" fmla="*/ 1 w 785"/>
                <a:gd name="T27" fmla="*/ 1 h 3959"/>
                <a:gd name="T28" fmla="*/ 1 w 785"/>
                <a:gd name="T29" fmla="*/ 1 h 3959"/>
                <a:gd name="T30" fmla="*/ 1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9" name="Freeform 60"/>
            <p:cNvSpPr>
              <a:spLocks/>
            </p:cNvSpPr>
            <p:nvPr/>
          </p:nvSpPr>
          <p:spPr bwMode="auto">
            <a:xfrm>
              <a:off x="18421" y="2398"/>
              <a:ext cx="77" cy="219"/>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1 w 152"/>
                <a:gd name="T17" fmla="*/ 1 h 435"/>
                <a:gd name="T18" fmla="*/ 1 w 152"/>
                <a:gd name="T19" fmla="*/ 1 h 435"/>
                <a:gd name="T20" fmla="*/ 1 w 152"/>
                <a:gd name="T21" fmla="*/ 1 h 435"/>
                <a:gd name="T22" fmla="*/ 1 w 152"/>
                <a:gd name="T23" fmla="*/ 1 h 435"/>
                <a:gd name="T24" fmla="*/ 1 w 152"/>
                <a:gd name="T25" fmla="*/ 1 h 435"/>
                <a:gd name="T26" fmla="*/ 1 w 152"/>
                <a:gd name="T27" fmla="*/ 1 h 435"/>
                <a:gd name="T28" fmla="*/ 1 w 152"/>
                <a:gd name="T29" fmla="*/ 1 h 435"/>
                <a:gd name="T30" fmla="*/ 1 w 152"/>
                <a:gd name="T31" fmla="*/ 1 h 435"/>
                <a:gd name="T32" fmla="*/ 1 w 152"/>
                <a:gd name="T33" fmla="*/ 1 h 435"/>
                <a:gd name="T34" fmla="*/ 1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 name="Freeform 61"/>
            <p:cNvSpPr>
              <a:spLocks/>
            </p:cNvSpPr>
            <p:nvPr/>
          </p:nvSpPr>
          <p:spPr bwMode="auto">
            <a:xfrm>
              <a:off x="18223" y="1036"/>
              <a:ext cx="1307" cy="1982"/>
            </a:xfrm>
            <a:custGeom>
              <a:avLst/>
              <a:gdLst>
                <a:gd name="T0" fmla="*/ 0 w 2616"/>
                <a:gd name="T1" fmla="*/ 0 h 3962"/>
                <a:gd name="T2" fmla="*/ 0 w 2616"/>
                <a:gd name="T3" fmla="*/ 1 h 3962"/>
                <a:gd name="T4" fmla="*/ 0 w 2616"/>
                <a:gd name="T5" fmla="*/ 1 h 3962"/>
                <a:gd name="T6" fmla="*/ 0 w 2616"/>
                <a:gd name="T7" fmla="*/ 1 h 3962"/>
                <a:gd name="T8" fmla="*/ 0 w 2616"/>
                <a:gd name="T9" fmla="*/ 1 h 3962"/>
                <a:gd name="T10" fmla="*/ 0 w 2616"/>
                <a:gd name="T11" fmla="*/ 1 h 3962"/>
                <a:gd name="T12" fmla="*/ 0 w 2616"/>
                <a:gd name="T13" fmla="*/ 1 h 3962"/>
                <a:gd name="T14" fmla="*/ 0 w 2616"/>
                <a:gd name="T15" fmla="*/ 1 h 3962"/>
                <a:gd name="T16" fmla="*/ 0 w 2616"/>
                <a:gd name="T17" fmla="*/ 1 h 3962"/>
                <a:gd name="T18" fmla="*/ 0 w 2616"/>
                <a:gd name="T19" fmla="*/ 1 h 3962"/>
                <a:gd name="T20" fmla="*/ 0 w 2616"/>
                <a:gd name="T21" fmla="*/ 1 h 3962"/>
                <a:gd name="T22" fmla="*/ 0 w 2616"/>
                <a:gd name="T23" fmla="*/ 1 h 3962"/>
                <a:gd name="T24" fmla="*/ 0 w 2616"/>
                <a:gd name="T25" fmla="*/ 1 h 3962"/>
                <a:gd name="T26" fmla="*/ 0 w 2616"/>
                <a:gd name="T27" fmla="*/ 1 h 3962"/>
                <a:gd name="T28" fmla="*/ 0 w 2616"/>
                <a:gd name="T29" fmla="*/ 1 h 3962"/>
                <a:gd name="T30" fmla="*/ 0 w 2616"/>
                <a:gd name="T31" fmla="*/ 1 h 3962"/>
                <a:gd name="T32" fmla="*/ 0 w 2616"/>
                <a:gd name="T33" fmla="*/ 1 h 3962"/>
                <a:gd name="T34" fmla="*/ 0 w 2616"/>
                <a:gd name="T35" fmla="*/ 1 h 3962"/>
                <a:gd name="T36" fmla="*/ 0 w 2616"/>
                <a:gd name="T37" fmla="*/ 1 h 3962"/>
                <a:gd name="T38" fmla="*/ 0 w 2616"/>
                <a:gd name="T39" fmla="*/ 1 h 3962"/>
                <a:gd name="T40" fmla="*/ 0 w 2616"/>
                <a:gd name="T41" fmla="*/ 1 h 3962"/>
                <a:gd name="T42" fmla="*/ 0 w 2616"/>
                <a:gd name="T43" fmla="*/ 1 h 3962"/>
                <a:gd name="T44" fmla="*/ 0 w 2616"/>
                <a:gd name="T45" fmla="*/ 1 h 3962"/>
                <a:gd name="T46" fmla="*/ 0 w 2616"/>
                <a:gd name="T47" fmla="*/ 1 h 3962"/>
                <a:gd name="T48" fmla="*/ 0 w 2616"/>
                <a:gd name="T49" fmla="*/ 1 h 3962"/>
                <a:gd name="T50" fmla="*/ 0 w 2616"/>
                <a:gd name="T51" fmla="*/ 1 h 3962"/>
                <a:gd name="T52" fmla="*/ 0 w 2616"/>
                <a:gd name="T53" fmla="*/ 1 h 3962"/>
                <a:gd name="T54" fmla="*/ 0 w 2616"/>
                <a:gd name="T55" fmla="*/ 1 h 3962"/>
                <a:gd name="T56" fmla="*/ 0 w 2616"/>
                <a:gd name="T57" fmla="*/ 1 h 3962"/>
                <a:gd name="T58" fmla="*/ 0 w 2616"/>
                <a:gd name="T59" fmla="*/ 1 h 3962"/>
                <a:gd name="T60" fmla="*/ 0 w 2616"/>
                <a:gd name="T61" fmla="*/ 1 h 3962"/>
                <a:gd name="T62" fmla="*/ 0 w 2616"/>
                <a:gd name="T63" fmla="*/ 1 h 3962"/>
                <a:gd name="T64" fmla="*/ 0 w 2616"/>
                <a:gd name="T65" fmla="*/ 1 h 3962"/>
                <a:gd name="T66" fmla="*/ 0 w 2616"/>
                <a:gd name="T67" fmla="*/ 1 h 3962"/>
                <a:gd name="T68" fmla="*/ 0 w 2616"/>
                <a:gd name="T69" fmla="*/ 1 h 3962"/>
                <a:gd name="T70" fmla="*/ 0 w 2616"/>
                <a:gd name="T71" fmla="*/ 1 h 3962"/>
                <a:gd name="T72" fmla="*/ 0 w 2616"/>
                <a:gd name="T73" fmla="*/ 1 h 3962"/>
                <a:gd name="T74" fmla="*/ 0 w 2616"/>
                <a:gd name="T75" fmla="*/ 1 h 3962"/>
                <a:gd name="T76" fmla="*/ 0 w 2616"/>
                <a:gd name="T77" fmla="*/ 1 h 3962"/>
                <a:gd name="T78" fmla="*/ 0 w 2616"/>
                <a:gd name="T79" fmla="*/ 1 h 3962"/>
                <a:gd name="T80" fmla="*/ 0 w 2616"/>
                <a:gd name="T81" fmla="*/ 1 h 3962"/>
                <a:gd name="T82" fmla="*/ 0 w 2616"/>
                <a:gd name="T83" fmla="*/ 1 h 3962"/>
                <a:gd name="T84" fmla="*/ 0 w 2616"/>
                <a:gd name="T85" fmla="*/ 1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1" name="Freeform 62"/>
            <p:cNvSpPr>
              <a:spLocks noEditPoints="1"/>
            </p:cNvSpPr>
            <p:nvPr/>
          </p:nvSpPr>
          <p:spPr bwMode="auto">
            <a:xfrm>
              <a:off x="19995" y="1044"/>
              <a:ext cx="231" cy="231"/>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grpSp>
      <p:sp>
        <p:nvSpPr>
          <p:cNvPr id="12" name="Line 2"/>
          <p:cNvSpPr>
            <a:spLocks noChangeShapeType="1"/>
          </p:cNvSpPr>
          <p:nvPr/>
        </p:nvSpPr>
        <p:spPr bwMode="auto">
          <a:xfrm>
            <a:off x="8" y="3429000"/>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ndParaRPr>
          </a:p>
        </p:txBody>
      </p:sp>
      <p:sp>
        <p:nvSpPr>
          <p:cNvPr id="3151" name="Rectangle 79"/>
          <p:cNvSpPr>
            <a:spLocks noGrp="1" noChangeArrowheads="1"/>
          </p:cNvSpPr>
          <p:nvPr>
            <p:ph type="subTitle" idx="1"/>
          </p:nvPr>
        </p:nvSpPr>
        <p:spPr>
          <a:xfrm>
            <a:off x="2806700" y="4724400"/>
            <a:ext cx="5867400" cy="762000"/>
          </a:xfrm>
        </p:spPr>
        <p:txBody>
          <a:bodyPr lIns="228174"/>
          <a:lstStyle>
            <a:lvl1pPr algn="r">
              <a:defRPr b="0" cap="all" baseline="0">
                <a:solidFill>
                  <a:srgbClr val="006699"/>
                </a:solidFill>
              </a:defRPr>
            </a:lvl1pPr>
          </a:lstStyle>
          <a:p>
            <a:r>
              <a:rPr lang="en-US"/>
              <a:t>Click to edit Master subtitle style</a:t>
            </a:r>
          </a:p>
        </p:txBody>
      </p:sp>
      <p:sp>
        <p:nvSpPr>
          <p:cNvPr id="3074" name="Rectangle 2"/>
          <p:cNvSpPr>
            <a:spLocks noGrp="1" noChangeArrowheads="1"/>
          </p:cNvSpPr>
          <p:nvPr>
            <p:ph type="ctrTitle"/>
          </p:nvPr>
        </p:nvSpPr>
        <p:spPr>
          <a:xfrm>
            <a:off x="2790833" y="3505202"/>
            <a:ext cx="5895975" cy="1046440"/>
          </a:xfrm>
        </p:spPr>
        <p:txBody>
          <a:bodyPr lIns="228130" bIns="0" anchor="t">
            <a:spAutoFit/>
          </a:bodyPr>
          <a:lstStyle>
            <a:lvl1pPr algn="r">
              <a:defRPr sz="3400">
                <a:solidFill>
                  <a:srgbClr val="006699"/>
                </a:solidFill>
              </a:defRPr>
            </a:lvl1pPr>
          </a:lstStyle>
          <a:p>
            <a:r>
              <a:rPr lang="en-US"/>
              <a:t>Click to edit Master title style</a:t>
            </a:r>
          </a:p>
        </p:txBody>
      </p:sp>
    </p:spTree>
    <p:extLst>
      <p:ext uri="{BB962C8B-B14F-4D97-AF65-F5344CB8AC3E}">
        <p14:creationId xmlns:p14="http://schemas.microsoft.com/office/powerpoint/2010/main" val="279212589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35559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28933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4274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30466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3CBB60-6839-40D2-A93A-61C0A57493A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86868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90976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D9E01-D1B3-45BE-9C2F-9DF4492D9A50}"/>
              </a:ext>
            </a:extLst>
          </p:cNvPr>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C712F43-57D2-49E2-AE45-C94F9B9E9384}"/>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C7F411F-A30C-4316-B1E3-14987BE2D131}"/>
              </a:ext>
            </a:extLst>
          </p:cNvPr>
          <p:cNvSpPr>
            <a:spLocks noGrp="1"/>
          </p:cNvSpPr>
          <p:nvPr>
            <p:ph type="dt" sz="half" idx="10"/>
          </p:nvPr>
        </p:nvSpPr>
        <p:spPr/>
        <p:txBody>
          <a:bodyPr/>
          <a:lstStyle/>
          <a:p>
            <a:fld id="{9CADD8E8-85FB-48F2-918D-859897887B0D}" type="datetimeFigureOut">
              <a:rPr lang="en-US" smtClean="0"/>
              <a:t>2/26/2021</a:t>
            </a:fld>
            <a:endParaRPr lang="en-US"/>
          </a:p>
        </p:txBody>
      </p:sp>
      <p:sp>
        <p:nvSpPr>
          <p:cNvPr id="5" name="Footer Placeholder 4">
            <a:extLst>
              <a:ext uri="{FF2B5EF4-FFF2-40B4-BE49-F238E27FC236}">
                <a16:creationId xmlns:a16="http://schemas.microsoft.com/office/drawing/2014/main" id="{8C914551-C4F1-4886-B9E8-4CB7D0C6AB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1AC8D1-1D46-4200-AC86-A200F9F51881}"/>
              </a:ext>
            </a:extLst>
          </p:cNvPr>
          <p:cNvSpPr>
            <a:spLocks noGrp="1"/>
          </p:cNvSpPr>
          <p:nvPr>
            <p:ph type="sldNum" sz="quarter" idx="12"/>
          </p:nvPr>
        </p:nvSpPr>
        <p:spPr/>
        <p:txBody>
          <a:bodyPr/>
          <a:lstStyle/>
          <a:p>
            <a:fld id="{40986B82-2271-417D-85C4-D39228C55C7B}" type="slidenum">
              <a:rPr lang="en-US" smtClean="0"/>
              <a:t>‹#›</a:t>
            </a:fld>
            <a:endParaRPr lang="en-US"/>
          </a:p>
        </p:txBody>
      </p:sp>
    </p:spTree>
    <p:extLst>
      <p:ext uri="{BB962C8B-B14F-4D97-AF65-F5344CB8AC3E}">
        <p14:creationId xmlns:p14="http://schemas.microsoft.com/office/powerpoint/2010/main" val="166043392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D3CD9-BC0A-4E7B-9D88-CC6F834DAD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77DE66-9BBE-458C-A3C6-62A94F1F2F4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F9BD12-88EF-4437-918B-48FC36E77609}"/>
              </a:ext>
            </a:extLst>
          </p:cNvPr>
          <p:cNvSpPr>
            <a:spLocks noGrp="1"/>
          </p:cNvSpPr>
          <p:nvPr>
            <p:ph type="dt" sz="half" idx="10"/>
          </p:nvPr>
        </p:nvSpPr>
        <p:spPr/>
        <p:txBody>
          <a:bodyPr/>
          <a:lstStyle/>
          <a:p>
            <a:fld id="{9CADD8E8-85FB-48F2-918D-859897887B0D}" type="datetimeFigureOut">
              <a:rPr lang="en-US" smtClean="0"/>
              <a:t>2/26/2021</a:t>
            </a:fld>
            <a:endParaRPr lang="en-US"/>
          </a:p>
        </p:txBody>
      </p:sp>
      <p:sp>
        <p:nvSpPr>
          <p:cNvPr id="5" name="Footer Placeholder 4">
            <a:extLst>
              <a:ext uri="{FF2B5EF4-FFF2-40B4-BE49-F238E27FC236}">
                <a16:creationId xmlns:a16="http://schemas.microsoft.com/office/drawing/2014/main" id="{05C59D95-2E8D-4980-A2D2-F47F95E25C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F17688-B141-400F-BF58-F031DD38DF96}"/>
              </a:ext>
            </a:extLst>
          </p:cNvPr>
          <p:cNvSpPr>
            <a:spLocks noGrp="1"/>
          </p:cNvSpPr>
          <p:nvPr>
            <p:ph type="sldNum" sz="quarter" idx="12"/>
          </p:nvPr>
        </p:nvSpPr>
        <p:spPr/>
        <p:txBody>
          <a:bodyPr/>
          <a:lstStyle/>
          <a:p>
            <a:fld id="{40986B82-2271-417D-85C4-D39228C55C7B}" type="slidenum">
              <a:rPr lang="en-US" smtClean="0"/>
              <a:t>‹#›</a:t>
            </a:fld>
            <a:endParaRPr lang="en-US"/>
          </a:p>
        </p:txBody>
      </p:sp>
    </p:spTree>
    <p:extLst>
      <p:ext uri="{BB962C8B-B14F-4D97-AF65-F5344CB8AC3E}">
        <p14:creationId xmlns:p14="http://schemas.microsoft.com/office/powerpoint/2010/main" val="1567067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837596" y="76835"/>
            <a:ext cx="8078108" cy="608371"/>
          </a:xfrm>
        </p:spPr>
        <p:txBody>
          <a:bodyPr/>
          <a:lstStyle/>
          <a:p>
            <a:r>
              <a:rPr lang="en-US"/>
              <a:t>Click to edit Master title style</a:t>
            </a:r>
          </a:p>
        </p:txBody>
      </p:sp>
      <p:sp>
        <p:nvSpPr>
          <p:cNvPr id="3" name="Content Placeholder 2"/>
          <p:cNvSpPr>
            <a:spLocks noGrp="1"/>
          </p:cNvSpPr>
          <p:nvPr>
            <p:ph sz="half" idx="1"/>
          </p:nvPr>
        </p:nvSpPr>
        <p:spPr>
          <a:xfrm>
            <a:off x="388560" y="1083086"/>
            <a:ext cx="8374440" cy="2547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88560" y="3777741"/>
            <a:ext cx="8374440" cy="2547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56585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F0BAB-E3FD-426A-BDD6-3E1D6A1A8783}"/>
              </a:ext>
            </a:extLst>
          </p:cNvPr>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7ECDD82-F870-49F2-910E-5D05BC340ABB}"/>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0961064-A34A-440B-B408-73CFE824839C}"/>
              </a:ext>
            </a:extLst>
          </p:cNvPr>
          <p:cNvSpPr>
            <a:spLocks noGrp="1"/>
          </p:cNvSpPr>
          <p:nvPr>
            <p:ph type="dt" sz="half" idx="10"/>
          </p:nvPr>
        </p:nvSpPr>
        <p:spPr/>
        <p:txBody>
          <a:bodyPr/>
          <a:lstStyle/>
          <a:p>
            <a:fld id="{9CADD8E8-85FB-48F2-918D-859897887B0D}" type="datetimeFigureOut">
              <a:rPr lang="en-US" smtClean="0"/>
              <a:t>2/26/2021</a:t>
            </a:fld>
            <a:endParaRPr lang="en-US"/>
          </a:p>
        </p:txBody>
      </p:sp>
      <p:sp>
        <p:nvSpPr>
          <p:cNvPr id="5" name="Footer Placeholder 4">
            <a:extLst>
              <a:ext uri="{FF2B5EF4-FFF2-40B4-BE49-F238E27FC236}">
                <a16:creationId xmlns:a16="http://schemas.microsoft.com/office/drawing/2014/main" id="{AE1F9D9F-3C00-4DFF-8EB8-5AC3CC7C0B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7C812F-1464-49C8-86A3-2FC192300B60}"/>
              </a:ext>
            </a:extLst>
          </p:cNvPr>
          <p:cNvSpPr>
            <a:spLocks noGrp="1"/>
          </p:cNvSpPr>
          <p:nvPr>
            <p:ph type="sldNum" sz="quarter" idx="12"/>
          </p:nvPr>
        </p:nvSpPr>
        <p:spPr/>
        <p:txBody>
          <a:bodyPr/>
          <a:lstStyle/>
          <a:p>
            <a:fld id="{40986B82-2271-417D-85C4-D39228C55C7B}" type="slidenum">
              <a:rPr lang="en-US" smtClean="0"/>
              <a:t>‹#›</a:t>
            </a:fld>
            <a:endParaRPr lang="en-US"/>
          </a:p>
        </p:txBody>
      </p:sp>
    </p:spTree>
    <p:extLst>
      <p:ext uri="{BB962C8B-B14F-4D97-AF65-F5344CB8AC3E}">
        <p14:creationId xmlns:p14="http://schemas.microsoft.com/office/powerpoint/2010/main" val="38939958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DF071-7A16-472D-B05E-78A3AE8271F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C81D26-1910-4045-89F7-69AB6721CC2B}"/>
              </a:ext>
            </a:extLst>
          </p:cNvPr>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3694B2A-9375-4CDE-9DBD-92B9C1EB926F}"/>
              </a:ext>
            </a:extLst>
          </p:cNvPr>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3539B48-6410-4902-BB0B-EAF5DEBD4E65}"/>
              </a:ext>
            </a:extLst>
          </p:cNvPr>
          <p:cNvSpPr>
            <a:spLocks noGrp="1"/>
          </p:cNvSpPr>
          <p:nvPr>
            <p:ph type="dt" sz="half" idx="10"/>
          </p:nvPr>
        </p:nvSpPr>
        <p:spPr/>
        <p:txBody>
          <a:bodyPr/>
          <a:lstStyle/>
          <a:p>
            <a:fld id="{9CADD8E8-85FB-48F2-918D-859897887B0D}" type="datetimeFigureOut">
              <a:rPr lang="en-US" smtClean="0"/>
              <a:t>2/26/2021</a:t>
            </a:fld>
            <a:endParaRPr lang="en-US"/>
          </a:p>
        </p:txBody>
      </p:sp>
      <p:sp>
        <p:nvSpPr>
          <p:cNvPr id="6" name="Footer Placeholder 5">
            <a:extLst>
              <a:ext uri="{FF2B5EF4-FFF2-40B4-BE49-F238E27FC236}">
                <a16:creationId xmlns:a16="http://schemas.microsoft.com/office/drawing/2014/main" id="{8B2ADFD3-C725-473B-B06E-E2BBB2AAF1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D9E64A-5666-4674-B23C-7183505C5233}"/>
              </a:ext>
            </a:extLst>
          </p:cNvPr>
          <p:cNvSpPr>
            <a:spLocks noGrp="1"/>
          </p:cNvSpPr>
          <p:nvPr>
            <p:ph type="sldNum" sz="quarter" idx="12"/>
          </p:nvPr>
        </p:nvSpPr>
        <p:spPr/>
        <p:txBody>
          <a:bodyPr/>
          <a:lstStyle/>
          <a:p>
            <a:fld id="{40986B82-2271-417D-85C4-D39228C55C7B}" type="slidenum">
              <a:rPr lang="en-US" smtClean="0"/>
              <a:t>‹#›</a:t>
            </a:fld>
            <a:endParaRPr lang="en-US"/>
          </a:p>
        </p:txBody>
      </p:sp>
    </p:spTree>
    <p:extLst>
      <p:ext uri="{BB962C8B-B14F-4D97-AF65-F5344CB8AC3E}">
        <p14:creationId xmlns:p14="http://schemas.microsoft.com/office/powerpoint/2010/main" val="14517871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61776-8425-450B-AD20-C5795973A9B1}"/>
              </a:ext>
            </a:extLst>
          </p:cNvPr>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0939B67-E132-406F-8874-96B11FBC6B80}"/>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8B0087C-18F0-4E10-B0BB-C4D064729D2A}"/>
              </a:ext>
            </a:extLst>
          </p:cNvPr>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183E0F0-EC26-484C-99EC-4400052A44C9}"/>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00D7BD7-5915-4379-A127-4E04ECD190B0}"/>
              </a:ext>
            </a:extLst>
          </p:cNvPr>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6D9284B-A0F8-4216-B289-DC87E11484B4}"/>
              </a:ext>
            </a:extLst>
          </p:cNvPr>
          <p:cNvSpPr>
            <a:spLocks noGrp="1"/>
          </p:cNvSpPr>
          <p:nvPr>
            <p:ph type="dt" sz="half" idx="10"/>
          </p:nvPr>
        </p:nvSpPr>
        <p:spPr/>
        <p:txBody>
          <a:bodyPr/>
          <a:lstStyle/>
          <a:p>
            <a:fld id="{9CADD8E8-85FB-48F2-918D-859897887B0D}" type="datetimeFigureOut">
              <a:rPr lang="en-US" smtClean="0"/>
              <a:t>2/26/2021</a:t>
            </a:fld>
            <a:endParaRPr lang="en-US"/>
          </a:p>
        </p:txBody>
      </p:sp>
      <p:sp>
        <p:nvSpPr>
          <p:cNvPr id="8" name="Footer Placeholder 7">
            <a:extLst>
              <a:ext uri="{FF2B5EF4-FFF2-40B4-BE49-F238E27FC236}">
                <a16:creationId xmlns:a16="http://schemas.microsoft.com/office/drawing/2014/main" id="{9E914A4E-AF8B-4A06-8A8D-ED07CB5FD69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5DAF196-4A38-42B5-8D01-F6A97A03CA8B}"/>
              </a:ext>
            </a:extLst>
          </p:cNvPr>
          <p:cNvSpPr>
            <a:spLocks noGrp="1"/>
          </p:cNvSpPr>
          <p:nvPr>
            <p:ph type="sldNum" sz="quarter" idx="12"/>
          </p:nvPr>
        </p:nvSpPr>
        <p:spPr/>
        <p:txBody>
          <a:bodyPr/>
          <a:lstStyle/>
          <a:p>
            <a:fld id="{40986B82-2271-417D-85C4-D39228C55C7B}" type="slidenum">
              <a:rPr lang="en-US" smtClean="0"/>
              <a:t>‹#›</a:t>
            </a:fld>
            <a:endParaRPr lang="en-US"/>
          </a:p>
        </p:txBody>
      </p:sp>
    </p:spTree>
    <p:extLst>
      <p:ext uri="{BB962C8B-B14F-4D97-AF65-F5344CB8AC3E}">
        <p14:creationId xmlns:p14="http://schemas.microsoft.com/office/powerpoint/2010/main" val="10812467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43235-A0D8-47EC-9725-BBE87394775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5FA9C63-69A7-434C-8ADE-D553E0B128C4}"/>
              </a:ext>
            </a:extLst>
          </p:cNvPr>
          <p:cNvSpPr>
            <a:spLocks noGrp="1"/>
          </p:cNvSpPr>
          <p:nvPr>
            <p:ph type="dt" sz="half" idx="10"/>
          </p:nvPr>
        </p:nvSpPr>
        <p:spPr/>
        <p:txBody>
          <a:bodyPr/>
          <a:lstStyle/>
          <a:p>
            <a:fld id="{9CADD8E8-85FB-48F2-918D-859897887B0D}" type="datetimeFigureOut">
              <a:rPr lang="en-US" smtClean="0"/>
              <a:t>2/26/2021</a:t>
            </a:fld>
            <a:endParaRPr lang="en-US"/>
          </a:p>
        </p:txBody>
      </p:sp>
      <p:sp>
        <p:nvSpPr>
          <p:cNvPr id="4" name="Footer Placeholder 3">
            <a:extLst>
              <a:ext uri="{FF2B5EF4-FFF2-40B4-BE49-F238E27FC236}">
                <a16:creationId xmlns:a16="http://schemas.microsoft.com/office/drawing/2014/main" id="{F7BB292E-BF36-4B88-AFD3-6EF96CF4B68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1D101BA-4373-446D-8B3A-BA2EA656479E}"/>
              </a:ext>
            </a:extLst>
          </p:cNvPr>
          <p:cNvSpPr>
            <a:spLocks noGrp="1"/>
          </p:cNvSpPr>
          <p:nvPr>
            <p:ph type="sldNum" sz="quarter" idx="12"/>
          </p:nvPr>
        </p:nvSpPr>
        <p:spPr/>
        <p:txBody>
          <a:bodyPr/>
          <a:lstStyle/>
          <a:p>
            <a:fld id="{40986B82-2271-417D-85C4-D39228C55C7B}" type="slidenum">
              <a:rPr lang="en-US" smtClean="0"/>
              <a:t>‹#›</a:t>
            </a:fld>
            <a:endParaRPr lang="en-US"/>
          </a:p>
        </p:txBody>
      </p:sp>
    </p:spTree>
    <p:extLst>
      <p:ext uri="{BB962C8B-B14F-4D97-AF65-F5344CB8AC3E}">
        <p14:creationId xmlns:p14="http://schemas.microsoft.com/office/powerpoint/2010/main" val="99872882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048556-5EB3-4B8E-A156-2E5D2B6F7CF4}"/>
              </a:ext>
            </a:extLst>
          </p:cNvPr>
          <p:cNvSpPr>
            <a:spLocks noGrp="1"/>
          </p:cNvSpPr>
          <p:nvPr>
            <p:ph type="dt" sz="half" idx="10"/>
          </p:nvPr>
        </p:nvSpPr>
        <p:spPr/>
        <p:txBody>
          <a:bodyPr/>
          <a:lstStyle/>
          <a:p>
            <a:fld id="{9CADD8E8-85FB-48F2-918D-859897887B0D}" type="datetimeFigureOut">
              <a:rPr lang="en-US" smtClean="0"/>
              <a:t>2/26/2021</a:t>
            </a:fld>
            <a:endParaRPr lang="en-US"/>
          </a:p>
        </p:txBody>
      </p:sp>
      <p:sp>
        <p:nvSpPr>
          <p:cNvPr id="3" name="Footer Placeholder 2">
            <a:extLst>
              <a:ext uri="{FF2B5EF4-FFF2-40B4-BE49-F238E27FC236}">
                <a16:creationId xmlns:a16="http://schemas.microsoft.com/office/drawing/2014/main" id="{1FAD6E81-6200-45EF-84F4-E28AEE2B9D7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1AE7944-F0C9-44B9-BF84-481640910B6E}"/>
              </a:ext>
            </a:extLst>
          </p:cNvPr>
          <p:cNvSpPr>
            <a:spLocks noGrp="1"/>
          </p:cNvSpPr>
          <p:nvPr>
            <p:ph type="sldNum" sz="quarter" idx="12"/>
          </p:nvPr>
        </p:nvSpPr>
        <p:spPr/>
        <p:txBody>
          <a:bodyPr/>
          <a:lstStyle/>
          <a:p>
            <a:fld id="{40986B82-2271-417D-85C4-D39228C55C7B}" type="slidenum">
              <a:rPr lang="en-US" smtClean="0"/>
              <a:t>‹#›</a:t>
            </a:fld>
            <a:endParaRPr lang="en-US"/>
          </a:p>
        </p:txBody>
      </p:sp>
    </p:spTree>
    <p:extLst>
      <p:ext uri="{BB962C8B-B14F-4D97-AF65-F5344CB8AC3E}">
        <p14:creationId xmlns:p14="http://schemas.microsoft.com/office/powerpoint/2010/main" val="36123812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43433-19EF-4AB5-B950-6AA278EFCB6B}"/>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5422CF-F57C-4FF2-BE6E-F0AD79A9EB12}"/>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917E56C-0F4A-48E7-9E15-A6420213F53F}"/>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6CFDED8-690E-4BB8-BDDE-5F122FB187F7}"/>
              </a:ext>
            </a:extLst>
          </p:cNvPr>
          <p:cNvSpPr>
            <a:spLocks noGrp="1"/>
          </p:cNvSpPr>
          <p:nvPr>
            <p:ph type="dt" sz="half" idx="10"/>
          </p:nvPr>
        </p:nvSpPr>
        <p:spPr/>
        <p:txBody>
          <a:bodyPr/>
          <a:lstStyle/>
          <a:p>
            <a:fld id="{9CADD8E8-85FB-48F2-918D-859897887B0D}" type="datetimeFigureOut">
              <a:rPr lang="en-US" smtClean="0"/>
              <a:t>2/26/2021</a:t>
            </a:fld>
            <a:endParaRPr lang="en-US"/>
          </a:p>
        </p:txBody>
      </p:sp>
      <p:sp>
        <p:nvSpPr>
          <p:cNvPr id="6" name="Footer Placeholder 5">
            <a:extLst>
              <a:ext uri="{FF2B5EF4-FFF2-40B4-BE49-F238E27FC236}">
                <a16:creationId xmlns:a16="http://schemas.microsoft.com/office/drawing/2014/main" id="{9DF00E9A-7CE6-4269-B7DA-754384B72EE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70856D-8753-45A5-AF6D-0445822F448F}"/>
              </a:ext>
            </a:extLst>
          </p:cNvPr>
          <p:cNvSpPr>
            <a:spLocks noGrp="1"/>
          </p:cNvSpPr>
          <p:nvPr>
            <p:ph type="sldNum" sz="quarter" idx="12"/>
          </p:nvPr>
        </p:nvSpPr>
        <p:spPr/>
        <p:txBody>
          <a:bodyPr/>
          <a:lstStyle/>
          <a:p>
            <a:fld id="{40986B82-2271-417D-85C4-D39228C55C7B}" type="slidenum">
              <a:rPr lang="en-US" smtClean="0"/>
              <a:t>‹#›</a:t>
            </a:fld>
            <a:endParaRPr lang="en-US"/>
          </a:p>
        </p:txBody>
      </p:sp>
    </p:spTree>
    <p:extLst>
      <p:ext uri="{BB962C8B-B14F-4D97-AF65-F5344CB8AC3E}">
        <p14:creationId xmlns:p14="http://schemas.microsoft.com/office/powerpoint/2010/main" val="359356225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9ED31-25F5-4D34-8144-C2731A6843E9}"/>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352E7C5-B1EF-4C18-A906-4A42C768C0EE}"/>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24DD09B-FF8C-4B16-A32D-23C476C1FD04}"/>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FC1CE25-69B7-4409-B7B9-AFAE6781B0FC}"/>
              </a:ext>
            </a:extLst>
          </p:cNvPr>
          <p:cNvSpPr>
            <a:spLocks noGrp="1"/>
          </p:cNvSpPr>
          <p:nvPr>
            <p:ph type="dt" sz="half" idx="10"/>
          </p:nvPr>
        </p:nvSpPr>
        <p:spPr/>
        <p:txBody>
          <a:bodyPr/>
          <a:lstStyle/>
          <a:p>
            <a:fld id="{9CADD8E8-85FB-48F2-918D-859897887B0D}" type="datetimeFigureOut">
              <a:rPr lang="en-US" smtClean="0"/>
              <a:t>2/26/2021</a:t>
            </a:fld>
            <a:endParaRPr lang="en-US"/>
          </a:p>
        </p:txBody>
      </p:sp>
      <p:sp>
        <p:nvSpPr>
          <p:cNvPr id="6" name="Footer Placeholder 5">
            <a:extLst>
              <a:ext uri="{FF2B5EF4-FFF2-40B4-BE49-F238E27FC236}">
                <a16:creationId xmlns:a16="http://schemas.microsoft.com/office/drawing/2014/main" id="{F1BBB602-D0FF-4D15-B1D7-11F654890C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BBEBA90-502A-4B48-9543-0561E1966171}"/>
              </a:ext>
            </a:extLst>
          </p:cNvPr>
          <p:cNvSpPr>
            <a:spLocks noGrp="1"/>
          </p:cNvSpPr>
          <p:nvPr>
            <p:ph type="sldNum" sz="quarter" idx="12"/>
          </p:nvPr>
        </p:nvSpPr>
        <p:spPr/>
        <p:txBody>
          <a:bodyPr/>
          <a:lstStyle/>
          <a:p>
            <a:fld id="{40986B82-2271-417D-85C4-D39228C55C7B}" type="slidenum">
              <a:rPr lang="en-US" smtClean="0"/>
              <a:t>‹#›</a:t>
            </a:fld>
            <a:endParaRPr lang="en-US"/>
          </a:p>
        </p:txBody>
      </p:sp>
    </p:spTree>
    <p:extLst>
      <p:ext uri="{BB962C8B-B14F-4D97-AF65-F5344CB8AC3E}">
        <p14:creationId xmlns:p14="http://schemas.microsoft.com/office/powerpoint/2010/main" val="1801347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6ED0F-B23B-4B3F-A6FF-C69A302988F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023BAF-5406-4377-B343-A08F786C12E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2CA559-B362-4316-A379-68DF080EB0DD}"/>
              </a:ext>
            </a:extLst>
          </p:cNvPr>
          <p:cNvSpPr>
            <a:spLocks noGrp="1"/>
          </p:cNvSpPr>
          <p:nvPr>
            <p:ph type="dt" sz="half" idx="10"/>
          </p:nvPr>
        </p:nvSpPr>
        <p:spPr/>
        <p:txBody>
          <a:bodyPr/>
          <a:lstStyle/>
          <a:p>
            <a:fld id="{9CADD8E8-85FB-48F2-918D-859897887B0D}" type="datetimeFigureOut">
              <a:rPr lang="en-US" smtClean="0"/>
              <a:t>2/26/2021</a:t>
            </a:fld>
            <a:endParaRPr lang="en-US"/>
          </a:p>
        </p:txBody>
      </p:sp>
      <p:sp>
        <p:nvSpPr>
          <p:cNvPr id="5" name="Footer Placeholder 4">
            <a:extLst>
              <a:ext uri="{FF2B5EF4-FFF2-40B4-BE49-F238E27FC236}">
                <a16:creationId xmlns:a16="http://schemas.microsoft.com/office/drawing/2014/main" id="{FFF7797A-7A9D-4E8D-9B8A-CE92258DF7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37ADCB-86E0-4E3C-9156-0F9C02327190}"/>
              </a:ext>
            </a:extLst>
          </p:cNvPr>
          <p:cNvSpPr>
            <a:spLocks noGrp="1"/>
          </p:cNvSpPr>
          <p:nvPr>
            <p:ph type="sldNum" sz="quarter" idx="12"/>
          </p:nvPr>
        </p:nvSpPr>
        <p:spPr/>
        <p:txBody>
          <a:bodyPr/>
          <a:lstStyle/>
          <a:p>
            <a:fld id="{40986B82-2271-417D-85C4-D39228C55C7B}" type="slidenum">
              <a:rPr lang="en-US" smtClean="0"/>
              <a:t>‹#›</a:t>
            </a:fld>
            <a:endParaRPr lang="en-US"/>
          </a:p>
        </p:txBody>
      </p:sp>
    </p:spTree>
    <p:extLst>
      <p:ext uri="{BB962C8B-B14F-4D97-AF65-F5344CB8AC3E}">
        <p14:creationId xmlns:p14="http://schemas.microsoft.com/office/powerpoint/2010/main" val="41509807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F350509-D9A0-4B95-92F2-C383FD206FE3}"/>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32EB094-2DA3-4448-A93B-3BFF345B8ADF}"/>
              </a:ext>
            </a:extLst>
          </p:cNvPr>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39CF2A-FAB5-4579-B887-CD0A1BDBD331}"/>
              </a:ext>
            </a:extLst>
          </p:cNvPr>
          <p:cNvSpPr>
            <a:spLocks noGrp="1"/>
          </p:cNvSpPr>
          <p:nvPr>
            <p:ph type="dt" sz="half" idx="10"/>
          </p:nvPr>
        </p:nvSpPr>
        <p:spPr/>
        <p:txBody>
          <a:bodyPr/>
          <a:lstStyle/>
          <a:p>
            <a:fld id="{9CADD8E8-85FB-48F2-918D-859897887B0D}" type="datetimeFigureOut">
              <a:rPr lang="en-US" smtClean="0"/>
              <a:t>2/26/2021</a:t>
            </a:fld>
            <a:endParaRPr lang="en-US"/>
          </a:p>
        </p:txBody>
      </p:sp>
      <p:sp>
        <p:nvSpPr>
          <p:cNvPr id="5" name="Footer Placeholder 4">
            <a:extLst>
              <a:ext uri="{FF2B5EF4-FFF2-40B4-BE49-F238E27FC236}">
                <a16:creationId xmlns:a16="http://schemas.microsoft.com/office/drawing/2014/main" id="{3749BB91-0B5D-43C7-9866-36E2C27849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026142-0A8B-4B29-91AE-6CCEE3648566}"/>
              </a:ext>
            </a:extLst>
          </p:cNvPr>
          <p:cNvSpPr>
            <a:spLocks noGrp="1"/>
          </p:cNvSpPr>
          <p:nvPr>
            <p:ph type="sldNum" sz="quarter" idx="12"/>
          </p:nvPr>
        </p:nvSpPr>
        <p:spPr/>
        <p:txBody>
          <a:bodyPr/>
          <a:lstStyle/>
          <a:p>
            <a:fld id="{40986B82-2271-417D-85C4-D39228C55C7B}" type="slidenum">
              <a:rPr lang="en-US" smtClean="0"/>
              <a:t>‹#›</a:t>
            </a:fld>
            <a:endParaRPr lang="en-US"/>
          </a:p>
        </p:txBody>
      </p:sp>
    </p:spTree>
    <p:extLst>
      <p:ext uri="{BB962C8B-B14F-4D97-AF65-F5344CB8AC3E}">
        <p14:creationId xmlns:p14="http://schemas.microsoft.com/office/powerpoint/2010/main" val="173868328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Divider Slide">
    <p:spTree>
      <p:nvGrpSpPr>
        <p:cNvPr id="1" name=""/>
        <p:cNvGrpSpPr/>
        <p:nvPr/>
      </p:nvGrpSpPr>
      <p:grpSpPr>
        <a:xfrm>
          <a:off x="0" y="0"/>
          <a:ext cx="0" cy="0"/>
          <a:chOff x="0" y="0"/>
          <a:chExt cx="0" cy="0"/>
        </a:xfrm>
      </p:grpSpPr>
      <p:grpSp>
        <p:nvGrpSpPr>
          <p:cNvPr id="4" name="Group 55"/>
          <p:cNvGrpSpPr>
            <a:grpSpLocks/>
          </p:cNvGrpSpPr>
          <p:nvPr/>
        </p:nvGrpSpPr>
        <p:grpSpPr bwMode="auto">
          <a:xfrm>
            <a:off x="457221" y="2362200"/>
            <a:ext cx="817563" cy="838200"/>
            <a:chOff x="18142" y="955"/>
            <a:chExt cx="2084" cy="2140"/>
          </a:xfrm>
        </p:grpSpPr>
        <p:sp>
          <p:nvSpPr>
            <p:cNvPr id="5" name="Rectangle 56"/>
            <p:cNvSpPr>
              <a:spLocks noChangeArrowheads="1"/>
            </p:cNvSpPr>
            <p:nvPr/>
          </p:nvSpPr>
          <p:spPr bwMode="auto">
            <a:xfrm>
              <a:off x="18142" y="955"/>
              <a:ext cx="1870"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6" name="Freeform 57"/>
            <p:cNvSpPr>
              <a:spLocks/>
            </p:cNvSpPr>
            <p:nvPr/>
          </p:nvSpPr>
          <p:spPr bwMode="auto">
            <a:xfrm>
              <a:off x="19101" y="2390"/>
              <a:ext cx="397" cy="620"/>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7" name="Freeform 58"/>
            <p:cNvSpPr>
              <a:spLocks/>
            </p:cNvSpPr>
            <p:nvPr/>
          </p:nvSpPr>
          <p:spPr bwMode="auto">
            <a:xfrm>
              <a:off x="19222" y="2738"/>
              <a:ext cx="166" cy="170"/>
            </a:xfrm>
            <a:custGeom>
              <a:avLst/>
              <a:gdLst>
                <a:gd name="T0" fmla="*/ 0 w 336"/>
                <a:gd name="T1" fmla="*/ 0 h 343"/>
                <a:gd name="T2" fmla="*/ 0 w 336"/>
                <a:gd name="T3" fmla="*/ 0 h 343"/>
                <a:gd name="T4" fmla="*/ 0 w 336"/>
                <a:gd name="T5" fmla="*/ 0 h 343"/>
                <a:gd name="T6" fmla="*/ 0 w 336"/>
                <a:gd name="T7" fmla="*/ 0 h 343"/>
                <a:gd name="T8" fmla="*/ 0 w 336"/>
                <a:gd name="T9" fmla="*/ 0 h 343"/>
                <a:gd name="T10" fmla="*/ 0 w 336"/>
                <a:gd name="T11" fmla="*/ 0 h 343"/>
                <a:gd name="T12" fmla="*/ 0 w 336"/>
                <a:gd name="T13" fmla="*/ 0 h 343"/>
                <a:gd name="T14" fmla="*/ 0 w 336"/>
                <a:gd name="T15" fmla="*/ 0 h 343"/>
                <a:gd name="T16" fmla="*/ 0 w 336"/>
                <a:gd name="T17" fmla="*/ 0 h 343"/>
                <a:gd name="T18" fmla="*/ 0 w 336"/>
                <a:gd name="T19" fmla="*/ 0 h 343"/>
                <a:gd name="T20" fmla="*/ 0 w 336"/>
                <a:gd name="T21" fmla="*/ 0 h 343"/>
                <a:gd name="T22" fmla="*/ 0 w 336"/>
                <a:gd name="T23" fmla="*/ 0 h 343"/>
                <a:gd name="T24" fmla="*/ 0 w 336"/>
                <a:gd name="T25" fmla="*/ 0 h 343"/>
                <a:gd name="T26" fmla="*/ 0 w 336"/>
                <a:gd name="T27" fmla="*/ 0 h 343"/>
                <a:gd name="T28" fmla="*/ 0 w 336"/>
                <a:gd name="T29" fmla="*/ 0 h 343"/>
                <a:gd name="T30" fmla="*/ 0 w 336"/>
                <a:gd name="T31" fmla="*/ 0 h 343"/>
                <a:gd name="T32" fmla="*/ 0 w 336"/>
                <a:gd name="T33" fmla="*/ 0 h 343"/>
                <a:gd name="T34" fmla="*/ 0 w 336"/>
                <a:gd name="T35" fmla="*/ 0 h 343"/>
                <a:gd name="T36" fmla="*/ 0 w 336"/>
                <a:gd name="T37" fmla="*/ 0 h 343"/>
                <a:gd name="T38" fmla="*/ 0 w 336"/>
                <a:gd name="T39" fmla="*/ 0 h 343"/>
                <a:gd name="T40" fmla="*/ 0 w 336"/>
                <a:gd name="T41" fmla="*/ 0 h 343"/>
                <a:gd name="T42" fmla="*/ 0 w 336"/>
                <a:gd name="T43" fmla="*/ 0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8" name="Freeform 59"/>
            <p:cNvSpPr>
              <a:spLocks/>
            </p:cNvSpPr>
            <p:nvPr/>
          </p:nvSpPr>
          <p:spPr bwMode="auto">
            <a:xfrm>
              <a:off x="19538" y="1036"/>
              <a:ext cx="393" cy="1982"/>
            </a:xfrm>
            <a:custGeom>
              <a:avLst/>
              <a:gdLst>
                <a:gd name="T0" fmla="*/ 0 w 785"/>
                <a:gd name="T1" fmla="*/ 0 h 3959"/>
                <a:gd name="T2" fmla="*/ 0 w 785"/>
                <a:gd name="T3" fmla="*/ 1 h 3959"/>
                <a:gd name="T4" fmla="*/ 1 w 785"/>
                <a:gd name="T5" fmla="*/ 1 h 3959"/>
                <a:gd name="T6" fmla="*/ 1 w 785"/>
                <a:gd name="T7" fmla="*/ 1 h 3959"/>
                <a:gd name="T8" fmla="*/ 1 w 785"/>
                <a:gd name="T9" fmla="*/ 1 h 3959"/>
                <a:gd name="T10" fmla="*/ 1 w 785"/>
                <a:gd name="T11" fmla="*/ 1 h 3959"/>
                <a:gd name="T12" fmla="*/ 1 w 785"/>
                <a:gd name="T13" fmla="*/ 1 h 3959"/>
                <a:gd name="T14" fmla="*/ 1 w 785"/>
                <a:gd name="T15" fmla="*/ 1 h 3959"/>
                <a:gd name="T16" fmla="*/ 1 w 785"/>
                <a:gd name="T17" fmla="*/ 1 h 3959"/>
                <a:gd name="T18" fmla="*/ 1 w 785"/>
                <a:gd name="T19" fmla="*/ 1 h 3959"/>
                <a:gd name="T20" fmla="*/ 1 w 785"/>
                <a:gd name="T21" fmla="*/ 1 h 3959"/>
                <a:gd name="T22" fmla="*/ 1 w 785"/>
                <a:gd name="T23" fmla="*/ 1 h 3959"/>
                <a:gd name="T24" fmla="*/ 1 w 785"/>
                <a:gd name="T25" fmla="*/ 1 h 3959"/>
                <a:gd name="T26" fmla="*/ 1 w 785"/>
                <a:gd name="T27" fmla="*/ 1 h 3959"/>
                <a:gd name="T28" fmla="*/ 1 w 785"/>
                <a:gd name="T29" fmla="*/ 1 h 3959"/>
                <a:gd name="T30" fmla="*/ 1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9" name="Freeform 60"/>
            <p:cNvSpPr>
              <a:spLocks/>
            </p:cNvSpPr>
            <p:nvPr/>
          </p:nvSpPr>
          <p:spPr bwMode="auto">
            <a:xfrm>
              <a:off x="18421" y="2398"/>
              <a:ext cx="77" cy="219"/>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1 w 152"/>
                <a:gd name="T17" fmla="*/ 1 h 435"/>
                <a:gd name="T18" fmla="*/ 1 w 152"/>
                <a:gd name="T19" fmla="*/ 1 h 435"/>
                <a:gd name="T20" fmla="*/ 1 w 152"/>
                <a:gd name="T21" fmla="*/ 1 h 435"/>
                <a:gd name="T22" fmla="*/ 1 w 152"/>
                <a:gd name="T23" fmla="*/ 1 h 435"/>
                <a:gd name="T24" fmla="*/ 1 w 152"/>
                <a:gd name="T25" fmla="*/ 1 h 435"/>
                <a:gd name="T26" fmla="*/ 1 w 152"/>
                <a:gd name="T27" fmla="*/ 1 h 435"/>
                <a:gd name="T28" fmla="*/ 1 w 152"/>
                <a:gd name="T29" fmla="*/ 1 h 435"/>
                <a:gd name="T30" fmla="*/ 1 w 152"/>
                <a:gd name="T31" fmla="*/ 1 h 435"/>
                <a:gd name="T32" fmla="*/ 1 w 152"/>
                <a:gd name="T33" fmla="*/ 1 h 435"/>
                <a:gd name="T34" fmla="*/ 1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 name="Freeform 61"/>
            <p:cNvSpPr>
              <a:spLocks/>
            </p:cNvSpPr>
            <p:nvPr/>
          </p:nvSpPr>
          <p:spPr bwMode="auto">
            <a:xfrm>
              <a:off x="18223" y="1036"/>
              <a:ext cx="1307" cy="1982"/>
            </a:xfrm>
            <a:custGeom>
              <a:avLst/>
              <a:gdLst>
                <a:gd name="T0" fmla="*/ 0 w 2616"/>
                <a:gd name="T1" fmla="*/ 0 h 3962"/>
                <a:gd name="T2" fmla="*/ 0 w 2616"/>
                <a:gd name="T3" fmla="*/ 1 h 3962"/>
                <a:gd name="T4" fmla="*/ 0 w 2616"/>
                <a:gd name="T5" fmla="*/ 1 h 3962"/>
                <a:gd name="T6" fmla="*/ 0 w 2616"/>
                <a:gd name="T7" fmla="*/ 1 h 3962"/>
                <a:gd name="T8" fmla="*/ 0 w 2616"/>
                <a:gd name="T9" fmla="*/ 1 h 3962"/>
                <a:gd name="T10" fmla="*/ 0 w 2616"/>
                <a:gd name="T11" fmla="*/ 1 h 3962"/>
                <a:gd name="T12" fmla="*/ 0 w 2616"/>
                <a:gd name="T13" fmla="*/ 1 h 3962"/>
                <a:gd name="T14" fmla="*/ 0 w 2616"/>
                <a:gd name="T15" fmla="*/ 1 h 3962"/>
                <a:gd name="T16" fmla="*/ 0 w 2616"/>
                <a:gd name="T17" fmla="*/ 1 h 3962"/>
                <a:gd name="T18" fmla="*/ 0 w 2616"/>
                <a:gd name="T19" fmla="*/ 1 h 3962"/>
                <a:gd name="T20" fmla="*/ 0 w 2616"/>
                <a:gd name="T21" fmla="*/ 1 h 3962"/>
                <a:gd name="T22" fmla="*/ 0 w 2616"/>
                <a:gd name="T23" fmla="*/ 1 h 3962"/>
                <a:gd name="T24" fmla="*/ 0 w 2616"/>
                <a:gd name="T25" fmla="*/ 1 h 3962"/>
                <a:gd name="T26" fmla="*/ 0 w 2616"/>
                <a:gd name="T27" fmla="*/ 1 h 3962"/>
                <a:gd name="T28" fmla="*/ 0 w 2616"/>
                <a:gd name="T29" fmla="*/ 1 h 3962"/>
                <a:gd name="T30" fmla="*/ 0 w 2616"/>
                <a:gd name="T31" fmla="*/ 1 h 3962"/>
                <a:gd name="T32" fmla="*/ 0 w 2616"/>
                <a:gd name="T33" fmla="*/ 1 h 3962"/>
                <a:gd name="T34" fmla="*/ 0 w 2616"/>
                <a:gd name="T35" fmla="*/ 1 h 3962"/>
                <a:gd name="T36" fmla="*/ 0 w 2616"/>
                <a:gd name="T37" fmla="*/ 1 h 3962"/>
                <a:gd name="T38" fmla="*/ 0 w 2616"/>
                <a:gd name="T39" fmla="*/ 1 h 3962"/>
                <a:gd name="T40" fmla="*/ 0 w 2616"/>
                <a:gd name="T41" fmla="*/ 1 h 3962"/>
                <a:gd name="T42" fmla="*/ 0 w 2616"/>
                <a:gd name="T43" fmla="*/ 1 h 3962"/>
                <a:gd name="T44" fmla="*/ 0 w 2616"/>
                <a:gd name="T45" fmla="*/ 1 h 3962"/>
                <a:gd name="T46" fmla="*/ 0 w 2616"/>
                <a:gd name="T47" fmla="*/ 1 h 3962"/>
                <a:gd name="T48" fmla="*/ 0 w 2616"/>
                <a:gd name="T49" fmla="*/ 1 h 3962"/>
                <a:gd name="T50" fmla="*/ 0 w 2616"/>
                <a:gd name="T51" fmla="*/ 1 h 3962"/>
                <a:gd name="T52" fmla="*/ 0 w 2616"/>
                <a:gd name="T53" fmla="*/ 1 h 3962"/>
                <a:gd name="T54" fmla="*/ 0 w 2616"/>
                <a:gd name="T55" fmla="*/ 1 h 3962"/>
                <a:gd name="T56" fmla="*/ 0 w 2616"/>
                <a:gd name="T57" fmla="*/ 1 h 3962"/>
                <a:gd name="T58" fmla="*/ 0 w 2616"/>
                <a:gd name="T59" fmla="*/ 1 h 3962"/>
                <a:gd name="T60" fmla="*/ 0 w 2616"/>
                <a:gd name="T61" fmla="*/ 1 h 3962"/>
                <a:gd name="T62" fmla="*/ 0 w 2616"/>
                <a:gd name="T63" fmla="*/ 1 h 3962"/>
                <a:gd name="T64" fmla="*/ 0 w 2616"/>
                <a:gd name="T65" fmla="*/ 1 h 3962"/>
                <a:gd name="T66" fmla="*/ 0 w 2616"/>
                <a:gd name="T67" fmla="*/ 1 h 3962"/>
                <a:gd name="T68" fmla="*/ 0 w 2616"/>
                <a:gd name="T69" fmla="*/ 1 h 3962"/>
                <a:gd name="T70" fmla="*/ 0 w 2616"/>
                <a:gd name="T71" fmla="*/ 1 h 3962"/>
                <a:gd name="T72" fmla="*/ 0 w 2616"/>
                <a:gd name="T73" fmla="*/ 1 h 3962"/>
                <a:gd name="T74" fmla="*/ 0 w 2616"/>
                <a:gd name="T75" fmla="*/ 1 h 3962"/>
                <a:gd name="T76" fmla="*/ 0 w 2616"/>
                <a:gd name="T77" fmla="*/ 1 h 3962"/>
                <a:gd name="T78" fmla="*/ 0 w 2616"/>
                <a:gd name="T79" fmla="*/ 1 h 3962"/>
                <a:gd name="T80" fmla="*/ 0 w 2616"/>
                <a:gd name="T81" fmla="*/ 1 h 3962"/>
                <a:gd name="T82" fmla="*/ 0 w 2616"/>
                <a:gd name="T83" fmla="*/ 1 h 3962"/>
                <a:gd name="T84" fmla="*/ 0 w 2616"/>
                <a:gd name="T85" fmla="*/ 1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1" name="Freeform 62"/>
            <p:cNvSpPr>
              <a:spLocks noEditPoints="1"/>
            </p:cNvSpPr>
            <p:nvPr/>
          </p:nvSpPr>
          <p:spPr bwMode="auto">
            <a:xfrm>
              <a:off x="19995" y="1044"/>
              <a:ext cx="231" cy="231"/>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grpSp>
      <p:sp>
        <p:nvSpPr>
          <p:cNvPr id="12" name="Line 2"/>
          <p:cNvSpPr>
            <a:spLocks noChangeShapeType="1"/>
          </p:cNvSpPr>
          <p:nvPr/>
        </p:nvSpPr>
        <p:spPr bwMode="auto">
          <a:xfrm>
            <a:off x="8" y="3429000"/>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3151" name="Rectangle 79"/>
          <p:cNvSpPr>
            <a:spLocks noGrp="1" noChangeArrowheads="1"/>
          </p:cNvSpPr>
          <p:nvPr>
            <p:ph type="subTitle" idx="1"/>
          </p:nvPr>
        </p:nvSpPr>
        <p:spPr>
          <a:xfrm>
            <a:off x="2806700" y="4724400"/>
            <a:ext cx="5867400" cy="762000"/>
          </a:xfrm>
        </p:spPr>
        <p:txBody>
          <a:bodyPr lIns="228174"/>
          <a:lstStyle>
            <a:lvl1pPr algn="r">
              <a:defRPr b="0" cap="all" baseline="0">
                <a:solidFill>
                  <a:srgbClr val="006699"/>
                </a:solidFill>
              </a:defRPr>
            </a:lvl1pPr>
          </a:lstStyle>
          <a:p>
            <a:r>
              <a:rPr lang="en-US"/>
              <a:t>Click to edit Master subtitle style</a:t>
            </a:r>
          </a:p>
        </p:txBody>
      </p:sp>
      <p:sp>
        <p:nvSpPr>
          <p:cNvPr id="3074" name="Rectangle 2"/>
          <p:cNvSpPr>
            <a:spLocks noGrp="1" noChangeArrowheads="1"/>
          </p:cNvSpPr>
          <p:nvPr>
            <p:ph type="ctrTitle"/>
          </p:nvPr>
        </p:nvSpPr>
        <p:spPr>
          <a:xfrm>
            <a:off x="2790833" y="3505202"/>
            <a:ext cx="5895975" cy="1046440"/>
          </a:xfrm>
        </p:spPr>
        <p:txBody>
          <a:bodyPr lIns="228130" bIns="0" anchor="t">
            <a:spAutoFit/>
          </a:bodyPr>
          <a:lstStyle>
            <a:lvl1pPr algn="r">
              <a:defRPr sz="3400">
                <a:solidFill>
                  <a:srgbClr val="006699"/>
                </a:solidFill>
              </a:defRPr>
            </a:lvl1pPr>
          </a:lstStyle>
          <a:p>
            <a:r>
              <a:rPr lang="en-US"/>
              <a:t>Click to edit Master title style</a:t>
            </a:r>
          </a:p>
        </p:txBody>
      </p:sp>
    </p:spTree>
    <p:extLst>
      <p:ext uri="{BB962C8B-B14F-4D97-AF65-F5344CB8AC3E}">
        <p14:creationId xmlns:p14="http://schemas.microsoft.com/office/powerpoint/2010/main" val="2704162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Divider Slide">
    <p:spTree>
      <p:nvGrpSpPr>
        <p:cNvPr id="1" name=""/>
        <p:cNvGrpSpPr/>
        <p:nvPr/>
      </p:nvGrpSpPr>
      <p:grpSpPr>
        <a:xfrm>
          <a:off x="0" y="0"/>
          <a:ext cx="0" cy="0"/>
          <a:chOff x="0" y="0"/>
          <a:chExt cx="0" cy="0"/>
        </a:xfrm>
      </p:grpSpPr>
      <p:grpSp>
        <p:nvGrpSpPr>
          <p:cNvPr id="4" name="Group 55"/>
          <p:cNvGrpSpPr>
            <a:grpSpLocks/>
          </p:cNvGrpSpPr>
          <p:nvPr/>
        </p:nvGrpSpPr>
        <p:grpSpPr bwMode="auto">
          <a:xfrm>
            <a:off x="457221" y="2362200"/>
            <a:ext cx="817563" cy="838200"/>
            <a:chOff x="18142" y="955"/>
            <a:chExt cx="2084" cy="2140"/>
          </a:xfrm>
        </p:grpSpPr>
        <p:sp>
          <p:nvSpPr>
            <p:cNvPr id="5" name="Rectangle 56"/>
            <p:cNvSpPr>
              <a:spLocks noChangeArrowheads="1"/>
            </p:cNvSpPr>
            <p:nvPr/>
          </p:nvSpPr>
          <p:spPr bwMode="auto">
            <a:xfrm>
              <a:off x="18142" y="955"/>
              <a:ext cx="1870"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6" name="Freeform 57"/>
            <p:cNvSpPr>
              <a:spLocks/>
            </p:cNvSpPr>
            <p:nvPr/>
          </p:nvSpPr>
          <p:spPr bwMode="auto">
            <a:xfrm>
              <a:off x="19101" y="2390"/>
              <a:ext cx="397" cy="620"/>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7" name="Freeform 58"/>
            <p:cNvSpPr>
              <a:spLocks/>
            </p:cNvSpPr>
            <p:nvPr/>
          </p:nvSpPr>
          <p:spPr bwMode="auto">
            <a:xfrm>
              <a:off x="19222" y="2738"/>
              <a:ext cx="166" cy="170"/>
            </a:xfrm>
            <a:custGeom>
              <a:avLst/>
              <a:gdLst>
                <a:gd name="T0" fmla="*/ 0 w 336"/>
                <a:gd name="T1" fmla="*/ 0 h 343"/>
                <a:gd name="T2" fmla="*/ 0 w 336"/>
                <a:gd name="T3" fmla="*/ 0 h 343"/>
                <a:gd name="T4" fmla="*/ 0 w 336"/>
                <a:gd name="T5" fmla="*/ 0 h 343"/>
                <a:gd name="T6" fmla="*/ 0 w 336"/>
                <a:gd name="T7" fmla="*/ 0 h 343"/>
                <a:gd name="T8" fmla="*/ 0 w 336"/>
                <a:gd name="T9" fmla="*/ 0 h 343"/>
                <a:gd name="T10" fmla="*/ 0 w 336"/>
                <a:gd name="T11" fmla="*/ 0 h 343"/>
                <a:gd name="T12" fmla="*/ 0 w 336"/>
                <a:gd name="T13" fmla="*/ 0 h 343"/>
                <a:gd name="T14" fmla="*/ 0 w 336"/>
                <a:gd name="T15" fmla="*/ 0 h 343"/>
                <a:gd name="T16" fmla="*/ 0 w 336"/>
                <a:gd name="T17" fmla="*/ 0 h 343"/>
                <a:gd name="T18" fmla="*/ 0 w 336"/>
                <a:gd name="T19" fmla="*/ 0 h 343"/>
                <a:gd name="T20" fmla="*/ 0 w 336"/>
                <a:gd name="T21" fmla="*/ 0 h 343"/>
                <a:gd name="T22" fmla="*/ 0 w 336"/>
                <a:gd name="T23" fmla="*/ 0 h 343"/>
                <a:gd name="T24" fmla="*/ 0 w 336"/>
                <a:gd name="T25" fmla="*/ 0 h 343"/>
                <a:gd name="T26" fmla="*/ 0 w 336"/>
                <a:gd name="T27" fmla="*/ 0 h 343"/>
                <a:gd name="T28" fmla="*/ 0 w 336"/>
                <a:gd name="T29" fmla="*/ 0 h 343"/>
                <a:gd name="T30" fmla="*/ 0 w 336"/>
                <a:gd name="T31" fmla="*/ 0 h 343"/>
                <a:gd name="T32" fmla="*/ 0 w 336"/>
                <a:gd name="T33" fmla="*/ 0 h 343"/>
                <a:gd name="T34" fmla="*/ 0 w 336"/>
                <a:gd name="T35" fmla="*/ 0 h 343"/>
                <a:gd name="T36" fmla="*/ 0 w 336"/>
                <a:gd name="T37" fmla="*/ 0 h 343"/>
                <a:gd name="T38" fmla="*/ 0 w 336"/>
                <a:gd name="T39" fmla="*/ 0 h 343"/>
                <a:gd name="T40" fmla="*/ 0 w 336"/>
                <a:gd name="T41" fmla="*/ 0 h 343"/>
                <a:gd name="T42" fmla="*/ 0 w 336"/>
                <a:gd name="T43" fmla="*/ 0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8" name="Freeform 59"/>
            <p:cNvSpPr>
              <a:spLocks/>
            </p:cNvSpPr>
            <p:nvPr/>
          </p:nvSpPr>
          <p:spPr bwMode="auto">
            <a:xfrm>
              <a:off x="19538" y="1036"/>
              <a:ext cx="393" cy="1982"/>
            </a:xfrm>
            <a:custGeom>
              <a:avLst/>
              <a:gdLst>
                <a:gd name="T0" fmla="*/ 0 w 785"/>
                <a:gd name="T1" fmla="*/ 0 h 3959"/>
                <a:gd name="T2" fmla="*/ 0 w 785"/>
                <a:gd name="T3" fmla="*/ 1 h 3959"/>
                <a:gd name="T4" fmla="*/ 1 w 785"/>
                <a:gd name="T5" fmla="*/ 1 h 3959"/>
                <a:gd name="T6" fmla="*/ 1 w 785"/>
                <a:gd name="T7" fmla="*/ 1 h 3959"/>
                <a:gd name="T8" fmla="*/ 1 w 785"/>
                <a:gd name="T9" fmla="*/ 1 h 3959"/>
                <a:gd name="T10" fmla="*/ 1 w 785"/>
                <a:gd name="T11" fmla="*/ 1 h 3959"/>
                <a:gd name="T12" fmla="*/ 1 w 785"/>
                <a:gd name="T13" fmla="*/ 1 h 3959"/>
                <a:gd name="T14" fmla="*/ 1 w 785"/>
                <a:gd name="T15" fmla="*/ 1 h 3959"/>
                <a:gd name="T16" fmla="*/ 1 w 785"/>
                <a:gd name="T17" fmla="*/ 1 h 3959"/>
                <a:gd name="T18" fmla="*/ 1 w 785"/>
                <a:gd name="T19" fmla="*/ 1 h 3959"/>
                <a:gd name="T20" fmla="*/ 1 w 785"/>
                <a:gd name="T21" fmla="*/ 1 h 3959"/>
                <a:gd name="T22" fmla="*/ 1 w 785"/>
                <a:gd name="T23" fmla="*/ 1 h 3959"/>
                <a:gd name="T24" fmla="*/ 1 w 785"/>
                <a:gd name="T25" fmla="*/ 1 h 3959"/>
                <a:gd name="T26" fmla="*/ 1 w 785"/>
                <a:gd name="T27" fmla="*/ 1 h 3959"/>
                <a:gd name="T28" fmla="*/ 1 w 785"/>
                <a:gd name="T29" fmla="*/ 1 h 3959"/>
                <a:gd name="T30" fmla="*/ 1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9" name="Freeform 60"/>
            <p:cNvSpPr>
              <a:spLocks/>
            </p:cNvSpPr>
            <p:nvPr/>
          </p:nvSpPr>
          <p:spPr bwMode="auto">
            <a:xfrm>
              <a:off x="18421" y="2398"/>
              <a:ext cx="77" cy="219"/>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1 w 152"/>
                <a:gd name="T17" fmla="*/ 1 h 435"/>
                <a:gd name="T18" fmla="*/ 1 w 152"/>
                <a:gd name="T19" fmla="*/ 1 h 435"/>
                <a:gd name="T20" fmla="*/ 1 w 152"/>
                <a:gd name="T21" fmla="*/ 1 h 435"/>
                <a:gd name="T22" fmla="*/ 1 w 152"/>
                <a:gd name="T23" fmla="*/ 1 h 435"/>
                <a:gd name="T24" fmla="*/ 1 w 152"/>
                <a:gd name="T25" fmla="*/ 1 h 435"/>
                <a:gd name="T26" fmla="*/ 1 w 152"/>
                <a:gd name="T27" fmla="*/ 1 h 435"/>
                <a:gd name="T28" fmla="*/ 1 w 152"/>
                <a:gd name="T29" fmla="*/ 1 h 435"/>
                <a:gd name="T30" fmla="*/ 1 w 152"/>
                <a:gd name="T31" fmla="*/ 1 h 435"/>
                <a:gd name="T32" fmla="*/ 1 w 152"/>
                <a:gd name="T33" fmla="*/ 1 h 435"/>
                <a:gd name="T34" fmla="*/ 1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 name="Freeform 61"/>
            <p:cNvSpPr>
              <a:spLocks/>
            </p:cNvSpPr>
            <p:nvPr/>
          </p:nvSpPr>
          <p:spPr bwMode="auto">
            <a:xfrm>
              <a:off x="18223" y="1036"/>
              <a:ext cx="1307" cy="1982"/>
            </a:xfrm>
            <a:custGeom>
              <a:avLst/>
              <a:gdLst>
                <a:gd name="T0" fmla="*/ 0 w 2616"/>
                <a:gd name="T1" fmla="*/ 0 h 3962"/>
                <a:gd name="T2" fmla="*/ 0 w 2616"/>
                <a:gd name="T3" fmla="*/ 1 h 3962"/>
                <a:gd name="T4" fmla="*/ 0 w 2616"/>
                <a:gd name="T5" fmla="*/ 1 h 3962"/>
                <a:gd name="T6" fmla="*/ 0 w 2616"/>
                <a:gd name="T7" fmla="*/ 1 h 3962"/>
                <a:gd name="T8" fmla="*/ 0 w 2616"/>
                <a:gd name="T9" fmla="*/ 1 h 3962"/>
                <a:gd name="T10" fmla="*/ 0 w 2616"/>
                <a:gd name="T11" fmla="*/ 1 h 3962"/>
                <a:gd name="T12" fmla="*/ 0 w 2616"/>
                <a:gd name="T13" fmla="*/ 1 h 3962"/>
                <a:gd name="T14" fmla="*/ 0 w 2616"/>
                <a:gd name="T15" fmla="*/ 1 h 3962"/>
                <a:gd name="T16" fmla="*/ 0 w 2616"/>
                <a:gd name="T17" fmla="*/ 1 h 3962"/>
                <a:gd name="T18" fmla="*/ 0 w 2616"/>
                <a:gd name="T19" fmla="*/ 1 h 3962"/>
                <a:gd name="T20" fmla="*/ 0 w 2616"/>
                <a:gd name="T21" fmla="*/ 1 h 3962"/>
                <a:gd name="T22" fmla="*/ 0 w 2616"/>
                <a:gd name="T23" fmla="*/ 1 h 3962"/>
                <a:gd name="T24" fmla="*/ 0 w 2616"/>
                <a:gd name="T25" fmla="*/ 1 h 3962"/>
                <a:gd name="T26" fmla="*/ 0 w 2616"/>
                <a:gd name="T27" fmla="*/ 1 h 3962"/>
                <a:gd name="T28" fmla="*/ 0 w 2616"/>
                <a:gd name="T29" fmla="*/ 1 h 3962"/>
                <a:gd name="T30" fmla="*/ 0 w 2616"/>
                <a:gd name="T31" fmla="*/ 1 h 3962"/>
                <a:gd name="T32" fmla="*/ 0 w 2616"/>
                <a:gd name="T33" fmla="*/ 1 h 3962"/>
                <a:gd name="T34" fmla="*/ 0 w 2616"/>
                <a:gd name="T35" fmla="*/ 1 h 3962"/>
                <a:gd name="T36" fmla="*/ 0 w 2616"/>
                <a:gd name="T37" fmla="*/ 1 h 3962"/>
                <a:gd name="T38" fmla="*/ 0 w 2616"/>
                <a:gd name="T39" fmla="*/ 1 h 3962"/>
                <a:gd name="T40" fmla="*/ 0 w 2616"/>
                <a:gd name="T41" fmla="*/ 1 h 3962"/>
                <a:gd name="T42" fmla="*/ 0 w 2616"/>
                <a:gd name="T43" fmla="*/ 1 h 3962"/>
                <a:gd name="T44" fmla="*/ 0 w 2616"/>
                <a:gd name="T45" fmla="*/ 1 h 3962"/>
                <a:gd name="T46" fmla="*/ 0 w 2616"/>
                <a:gd name="T47" fmla="*/ 1 h 3962"/>
                <a:gd name="T48" fmla="*/ 0 w 2616"/>
                <a:gd name="T49" fmla="*/ 1 h 3962"/>
                <a:gd name="T50" fmla="*/ 0 w 2616"/>
                <a:gd name="T51" fmla="*/ 1 h 3962"/>
                <a:gd name="T52" fmla="*/ 0 w 2616"/>
                <a:gd name="T53" fmla="*/ 1 h 3962"/>
                <a:gd name="T54" fmla="*/ 0 w 2616"/>
                <a:gd name="T55" fmla="*/ 1 h 3962"/>
                <a:gd name="T56" fmla="*/ 0 w 2616"/>
                <a:gd name="T57" fmla="*/ 1 h 3962"/>
                <a:gd name="T58" fmla="*/ 0 w 2616"/>
                <a:gd name="T59" fmla="*/ 1 h 3962"/>
                <a:gd name="T60" fmla="*/ 0 w 2616"/>
                <a:gd name="T61" fmla="*/ 1 h 3962"/>
                <a:gd name="T62" fmla="*/ 0 w 2616"/>
                <a:gd name="T63" fmla="*/ 1 h 3962"/>
                <a:gd name="T64" fmla="*/ 0 w 2616"/>
                <a:gd name="T65" fmla="*/ 1 h 3962"/>
                <a:gd name="T66" fmla="*/ 0 w 2616"/>
                <a:gd name="T67" fmla="*/ 1 h 3962"/>
                <a:gd name="T68" fmla="*/ 0 w 2616"/>
                <a:gd name="T69" fmla="*/ 1 h 3962"/>
                <a:gd name="T70" fmla="*/ 0 w 2616"/>
                <a:gd name="T71" fmla="*/ 1 h 3962"/>
                <a:gd name="T72" fmla="*/ 0 w 2616"/>
                <a:gd name="T73" fmla="*/ 1 h 3962"/>
                <a:gd name="T74" fmla="*/ 0 w 2616"/>
                <a:gd name="T75" fmla="*/ 1 h 3962"/>
                <a:gd name="T76" fmla="*/ 0 w 2616"/>
                <a:gd name="T77" fmla="*/ 1 h 3962"/>
                <a:gd name="T78" fmla="*/ 0 w 2616"/>
                <a:gd name="T79" fmla="*/ 1 h 3962"/>
                <a:gd name="T80" fmla="*/ 0 w 2616"/>
                <a:gd name="T81" fmla="*/ 1 h 3962"/>
                <a:gd name="T82" fmla="*/ 0 w 2616"/>
                <a:gd name="T83" fmla="*/ 1 h 3962"/>
                <a:gd name="T84" fmla="*/ 0 w 2616"/>
                <a:gd name="T85" fmla="*/ 1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1" name="Freeform 62"/>
            <p:cNvSpPr>
              <a:spLocks noEditPoints="1"/>
            </p:cNvSpPr>
            <p:nvPr/>
          </p:nvSpPr>
          <p:spPr bwMode="auto">
            <a:xfrm>
              <a:off x="19995" y="1044"/>
              <a:ext cx="231" cy="231"/>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grpSp>
      <p:sp>
        <p:nvSpPr>
          <p:cNvPr id="12" name="Line 2"/>
          <p:cNvSpPr>
            <a:spLocks noChangeShapeType="1"/>
          </p:cNvSpPr>
          <p:nvPr/>
        </p:nvSpPr>
        <p:spPr bwMode="auto">
          <a:xfrm>
            <a:off x="8" y="3429000"/>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ndParaRPr>
          </a:p>
        </p:txBody>
      </p:sp>
      <p:sp>
        <p:nvSpPr>
          <p:cNvPr id="3151" name="Rectangle 79"/>
          <p:cNvSpPr>
            <a:spLocks noGrp="1" noChangeArrowheads="1"/>
          </p:cNvSpPr>
          <p:nvPr>
            <p:ph type="subTitle" idx="1"/>
          </p:nvPr>
        </p:nvSpPr>
        <p:spPr>
          <a:xfrm>
            <a:off x="2806700" y="4724400"/>
            <a:ext cx="5867400" cy="762000"/>
          </a:xfrm>
        </p:spPr>
        <p:txBody>
          <a:bodyPr lIns="228174"/>
          <a:lstStyle>
            <a:lvl1pPr algn="r">
              <a:defRPr b="0" cap="all" baseline="0">
                <a:solidFill>
                  <a:srgbClr val="006699"/>
                </a:solidFill>
              </a:defRPr>
            </a:lvl1pPr>
          </a:lstStyle>
          <a:p>
            <a:r>
              <a:rPr lang="en-US"/>
              <a:t>Click to edit Master subtitle style</a:t>
            </a:r>
          </a:p>
        </p:txBody>
      </p:sp>
      <p:sp>
        <p:nvSpPr>
          <p:cNvPr id="3074" name="Rectangle 2"/>
          <p:cNvSpPr>
            <a:spLocks noGrp="1" noChangeArrowheads="1"/>
          </p:cNvSpPr>
          <p:nvPr>
            <p:ph type="ctrTitle"/>
          </p:nvPr>
        </p:nvSpPr>
        <p:spPr>
          <a:xfrm>
            <a:off x="2790833" y="3505202"/>
            <a:ext cx="5895975" cy="1046440"/>
          </a:xfrm>
        </p:spPr>
        <p:txBody>
          <a:bodyPr lIns="228130" bIns="0" anchor="t">
            <a:spAutoFit/>
          </a:bodyPr>
          <a:lstStyle>
            <a:lvl1pPr algn="r">
              <a:defRPr sz="3400">
                <a:solidFill>
                  <a:srgbClr val="006699"/>
                </a:solidFill>
              </a:defRPr>
            </a:lvl1pPr>
          </a:lstStyle>
          <a:p>
            <a:r>
              <a:rPr lang="en-US"/>
              <a:t>Click to edit Master title style</a:t>
            </a:r>
          </a:p>
        </p:txBody>
      </p:sp>
    </p:spTree>
    <p:extLst>
      <p:ext uri="{BB962C8B-B14F-4D97-AF65-F5344CB8AC3E}">
        <p14:creationId xmlns:p14="http://schemas.microsoft.com/office/powerpoint/2010/main" val="20712119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55577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50958"/>
            <a:ext cx="40386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765672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47726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extBox 1"/>
          <p:cNvSpPr txBox="1"/>
          <p:nvPr userDrawn="1"/>
        </p:nvSpPr>
        <p:spPr>
          <a:xfrm>
            <a:off x="8" y="6553200"/>
            <a:ext cx="9140825" cy="261610"/>
          </a:xfrm>
          <a:prstGeom prst="rect">
            <a:avLst/>
          </a:prstGeom>
          <a:noFill/>
        </p:spPr>
        <p:txBody>
          <a:bodyPr wrap="square" rtlCol="0">
            <a:spAutoFit/>
          </a:bodyPr>
          <a:lstStyle/>
          <a:p>
            <a:pPr algn="ctr" defTabSz="912689"/>
            <a:r>
              <a:rPr lang="en-US" sz="1100">
                <a:solidFill>
                  <a:srgbClr val="FF0000"/>
                </a:solidFill>
              </a:rPr>
              <a:t>Internal &amp; Confidential</a:t>
            </a:r>
          </a:p>
        </p:txBody>
      </p:sp>
    </p:spTree>
    <p:extLst>
      <p:ext uri="{BB962C8B-B14F-4D97-AF65-F5344CB8AC3E}">
        <p14:creationId xmlns:p14="http://schemas.microsoft.com/office/powerpoint/2010/main" val="20596612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71905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837596" y="76835"/>
            <a:ext cx="8078108" cy="608371"/>
          </a:xfrm>
        </p:spPr>
        <p:txBody>
          <a:bodyPr/>
          <a:lstStyle/>
          <a:p>
            <a:r>
              <a:rPr lang="en-US"/>
              <a:t>Click to edit Master title style</a:t>
            </a:r>
          </a:p>
        </p:txBody>
      </p:sp>
      <p:sp>
        <p:nvSpPr>
          <p:cNvPr id="3" name="Content Placeholder 2"/>
          <p:cNvSpPr>
            <a:spLocks noGrp="1"/>
          </p:cNvSpPr>
          <p:nvPr>
            <p:ph sz="half" idx="1"/>
          </p:nvPr>
        </p:nvSpPr>
        <p:spPr>
          <a:xfrm>
            <a:off x="388560" y="1083086"/>
            <a:ext cx="8374440" cy="2547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88560" y="3777741"/>
            <a:ext cx="8374440" cy="2547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364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0" inden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96803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81.xml"/><Relationship Id="rId7" Type="http://schemas.openxmlformats.org/officeDocument/2006/relationships/slideLayout" Target="../slideLayouts/slideLayout85.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5" Type="http://schemas.openxmlformats.org/officeDocument/2006/relationships/slideLayout" Target="../slideLayouts/slideLayout83.xml"/><Relationship Id="rId4"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theme" Target="../theme/theme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theme" Target="../theme/theme5.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7.xml"/><Relationship Id="rId3" Type="http://schemas.openxmlformats.org/officeDocument/2006/relationships/slideLayout" Target="../slideLayouts/slideLayout46.xml"/><Relationship Id="rId21" Type="http://schemas.openxmlformats.org/officeDocument/2006/relationships/oleObject" Target="../embeddings/oleObject1.bin"/><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ags" Target="../tags/tag1.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image" Target="../media/image2.png"/><Relationship Id="rId10" Type="http://schemas.openxmlformats.org/officeDocument/2006/relationships/slideLayout" Target="../slideLayouts/slideLayout53.xml"/><Relationship Id="rId19" Type="http://schemas.openxmlformats.org/officeDocument/2006/relationships/vmlDrawing" Target="../drawings/vmlDrawing1.v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4" Type="http://schemas.openxmlformats.org/officeDocument/2006/relationships/slideLayout" Target="../slideLayouts/slideLayout6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541472" y="-4763"/>
            <a:ext cx="7450137"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625" numCol="1" anchor="b"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57200" y="1250958"/>
            <a:ext cx="82296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28" name="Group 8"/>
          <p:cNvGrpSpPr>
            <a:grpSpLocks/>
          </p:cNvGrpSpPr>
          <p:nvPr/>
        </p:nvGrpSpPr>
        <p:grpSpPr bwMode="auto">
          <a:xfrm>
            <a:off x="101601" y="104775"/>
            <a:ext cx="668338" cy="685800"/>
            <a:chOff x="18142" y="955"/>
            <a:chExt cx="2084" cy="2140"/>
          </a:xfrm>
        </p:grpSpPr>
        <p:sp>
          <p:nvSpPr>
            <p:cNvPr id="1032" name="Rectangle 9"/>
            <p:cNvSpPr>
              <a:spLocks noChangeArrowheads="1"/>
            </p:cNvSpPr>
            <p:nvPr/>
          </p:nvSpPr>
          <p:spPr bwMode="auto">
            <a:xfrm>
              <a:off x="18142" y="955"/>
              <a:ext cx="1871"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1033" name="Freeform 10"/>
            <p:cNvSpPr>
              <a:spLocks/>
            </p:cNvSpPr>
            <p:nvPr/>
          </p:nvSpPr>
          <p:spPr bwMode="auto">
            <a:xfrm>
              <a:off x="19102" y="2392"/>
              <a:ext cx="396" cy="619"/>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4" name="Freeform 11"/>
            <p:cNvSpPr>
              <a:spLocks/>
            </p:cNvSpPr>
            <p:nvPr/>
          </p:nvSpPr>
          <p:spPr bwMode="auto">
            <a:xfrm>
              <a:off x="19221" y="2738"/>
              <a:ext cx="168" cy="173"/>
            </a:xfrm>
            <a:custGeom>
              <a:avLst/>
              <a:gdLst>
                <a:gd name="T0" fmla="*/ 1 w 336"/>
                <a:gd name="T1" fmla="*/ 1 h 343"/>
                <a:gd name="T2" fmla="*/ 1 w 336"/>
                <a:gd name="T3" fmla="*/ 1 h 343"/>
                <a:gd name="T4" fmla="*/ 1 w 336"/>
                <a:gd name="T5" fmla="*/ 1 h 343"/>
                <a:gd name="T6" fmla="*/ 1 w 336"/>
                <a:gd name="T7" fmla="*/ 1 h 343"/>
                <a:gd name="T8" fmla="*/ 1 w 336"/>
                <a:gd name="T9" fmla="*/ 1 h 343"/>
                <a:gd name="T10" fmla="*/ 1 w 336"/>
                <a:gd name="T11" fmla="*/ 1 h 343"/>
                <a:gd name="T12" fmla="*/ 1 w 336"/>
                <a:gd name="T13" fmla="*/ 1 h 343"/>
                <a:gd name="T14" fmla="*/ 1 w 336"/>
                <a:gd name="T15" fmla="*/ 0 h 343"/>
                <a:gd name="T16" fmla="*/ 1 w 336"/>
                <a:gd name="T17" fmla="*/ 0 h 343"/>
                <a:gd name="T18" fmla="*/ 1 w 336"/>
                <a:gd name="T19" fmla="*/ 1 h 343"/>
                <a:gd name="T20" fmla="*/ 1 w 336"/>
                <a:gd name="T21" fmla="*/ 1 h 343"/>
                <a:gd name="T22" fmla="*/ 0 w 336"/>
                <a:gd name="T23" fmla="*/ 1 h 343"/>
                <a:gd name="T24" fmla="*/ 1 w 336"/>
                <a:gd name="T25" fmla="*/ 1 h 343"/>
                <a:gd name="T26" fmla="*/ 1 w 336"/>
                <a:gd name="T27" fmla="*/ 1 h 343"/>
                <a:gd name="T28" fmla="*/ 1 w 336"/>
                <a:gd name="T29" fmla="*/ 1 h 343"/>
                <a:gd name="T30" fmla="*/ 1 w 336"/>
                <a:gd name="T31" fmla="*/ 1 h 343"/>
                <a:gd name="T32" fmla="*/ 1 w 336"/>
                <a:gd name="T33" fmla="*/ 1 h 343"/>
                <a:gd name="T34" fmla="*/ 1 w 336"/>
                <a:gd name="T35" fmla="*/ 1 h 343"/>
                <a:gd name="T36" fmla="*/ 1 w 336"/>
                <a:gd name="T37" fmla="*/ 1 h 343"/>
                <a:gd name="T38" fmla="*/ 1 w 336"/>
                <a:gd name="T39" fmla="*/ 1 h 343"/>
                <a:gd name="T40" fmla="*/ 1 w 336"/>
                <a:gd name="T41" fmla="*/ 1 h 343"/>
                <a:gd name="T42" fmla="*/ 1 w 336"/>
                <a:gd name="T43" fmla="*/ 1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5" name="Freeform 12"/>
            <p:cNvSpPr>
              <a:spLocks/>
            </p:cNvSpPr>
            <p:nvPr/>
          </p:nvSpPr>
          <p:spPr bwMode="auto">
            <a:xfrm>
              <a:off x="19538" y="1039"/>
              <a:ext cx="391" cy="1977"/>
            </a:xfrm>
            <a:custGeom>
              <a:avLst/>
              <a:gdLst>
                <a:gd name="T0" fmla="*/ 0 w 785"/>
                <a:gd name="T1" fmla="*/ 0 h 3959"/>
                <a:gd name="T2" fmla="*/ 0 w 785"/>
                <a:gd name="T3" fmla="*/ 0 h 3959"/>
                <a:gd name="T4" fmla="*/ 0 w 785"/>
                <a:gd name="T5" fmla="*/ 0 h 3959"/>
                <a:gd name="T6" fmla="*/ 0 w 785"/>
                <a:gd name="T7" fmla="*/ 0 h 3959"/>
                <a:gd name="T8" fmla="*/ 0 w 785"/>
                <a:gd name="T9" fmla="*/ 0 h 3959"/>
                <a:gd name="T10" fmla="*/ 0 w 785"/>
                <a:gd name="T11" fmla="*/ 0 h 3959"/>
                <a:gd name="T12" fmla="*/ 0 w 785"/>
                <a:gd name="T13" fmla="*/ 0 h 3959"/>
                <a:gd name="T14" fmla="*/ 0 w 785"/>
                <a:gd name="T15" fmla="*/ 0 h 3959"/>
                <a:gd name="T16" fmla="*/ 0 w 785"/>
                <a:gd name="T17" fmla="*/ 0 h 3959"/>
                <a:gd name="T18" fmla="*/ 0 w 785"/>
                <a:gd name="T19" fmla="*/ 0 h 3959"/>
                <a:gd name="T20" fmla="*/ 0 w 785"/>
                <a:gd name="T21" fmla="*/ 0 h 3959"/>
                <a:gd name="T22" fmla="*/ 0 w 785"/>
                <a:gd name="T23" fmla="*/ 0 h 3959"/>
                <a:gd name="T24" fmla="*/ 0 w 785"/>
                <a:gd name="T25" fmla="*/ 0 h 3959"/>
                <a:gd name="T26" fmla="*/ 0 w 785"/>
                <a:gd name="T27" fmla="*/ 0 h 3959"/>
                <a:gd name="T28" fmla="*/ 0 w 785"/>
                <a:gd name="T29" fmla="*/ 0 h 3959"/>
                <a:gd name="T30" fmla="*/ 0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6" name="Freeform 13"/>
            <p:cNvSpPr>
              <a:spLocks/>
            </p:cNvSpPr>
            <p:nvPr/>
          </p:nvSpPr>
          <p:spPr bwMode="auto">
            <a:xfrm>
              <a:off x="18424" y="2397"/>
              <a:ext cx="74" cy="218"/>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0 w 152"/>
                <a:gd name="T17" fmla="*/ 1 h 435"/>
                <a:gd name="T18" fmla="*/ 0 w 152"/>
                <a:gd name="T19" fmla="*/ 1 h 435"/>
                <a:gd name="T20" fmla="*/ 0 w 152"/>
                <a:gd name="T21" fmla="*/ 1 h 435"/>
                <a:gd name="T22" fmla="*/ 0 w 152"/>
                <a:gd name="T23" fmla="*/ 1 h 435"/>
                <a:gd name="T24" fmla="*/ 0 w 152"/>
                <a:gd name="T25" fmla="*/ 1 h 435"/>
                <a:gd name="T26" fmla="*/ 0 w 152"/>
                <a:gd name="T27" fmla="*/ 1 h 435"/>
                <a:gd name="T28" fmla="*/ 0 w 152"/>
                <a:gd name="T29" fmla="*/ 1 h 435"/>
                <a:gd name="T30" fmla="*/ 0 w 152"/>
                <a:gd name="T31" fmla="*/ 1 h 435"/>
                <a:gd name="T32" fmla="*/ 0 w 152"/>
                <a:gd name="T33" fmla="*/ 1 h 435"/>
                <a:gd name="T34" fmla="*/ 0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7" name="Freeform 14"/>
            <p:cNvSpPr>
              <a:spLocks/>
            </p:cNvSpPr>
            <p:nvPr/>
          </p:nvSpPr>
          <p:spPr bwMode="auto">
            <a:xfrm>
              <a:off x="18221" y="1039"/>
              <a:ext cx="1307" cy="1977"/>
            </a:xfrm>
            <a:custGeom>
              <a:avLst/>
              <a:gdLst>
                <a:gd name="T0" fmla="*/ 0 w 2616"/>
                <a:gd name="T1" fmla="*/ 0 h 3962"/>
                <a:gd name="T2" fmla="*/ 0 w 2616"/>
                <a:gd name="T3" fmla="*/ 0 h 3962"/>
                <a:gd name="T4" fmla="*/ 0 w 2616"/>
                <a:gd name="T5" fmla="*/ 0 h 3962"/>
                <a:gd name="T6" fmla="*/ 0 w 2616"/>
                <a:gd name="T7" fmla="*/ 0 h 3962"/>
                <a:gd name="T8" fmla="*/ 0 w 2616"/>
                <a:gd name="T9" fmla="*/ 0 h 3962"/>
                <a:gd name="T10" fmla="*/ 0 w 2616"/>
                <a:gd name="T11" fmla="*/ 0 h 3962"/>
                <a:gd name="T12" fmla="*/ 0 w 2616"/>
                <a:gd name="T13" fmla="*/ 0 h 3962"/>
                <a:gd name="T14" fmla="*/ 0 w 2616"/>
                <a:gd name="T15" fmla="*/ 0 h 3962"/>
                <a:gd name="T16" fmla="*/ 0 w 2616"/>
                <a:gd name="T17" fmla="*/ 0 h 3962"/>
                <a:gd name="T18" fmla="*/ 0 w 2616"/>
                <a:gd name="T19" fmla="*/ 0 h 3962"/>
                <a:gd name="T20" fmla="*/ 0 w 2616"/>
                <a:gd name="T21" fmla="*/ 0 h 3962"/>
                <a:gd name="T22" fmla="*/ 0 w 2616"/>
                <a:gd name="T23" fmla="*/ 0 h 3962"/>
                <a:gd name="T24" fmla="*/ 0 w 2616"/>
                <a:gd name="T25" fmla="*/ 0 h 3962"/>
                <a:gd name="T26" fmla="*/ 0 w 2616"/>
                <a:gd name="T27" fmla="*/ 0 h 3962"/>
                <a:gd name="T28" fmla="*/ 0 w 2616"/>
                <a:gd name="T29" fmla="*/ 0 h 3962"/>
                <a:gd name="T30" fmla="*/ 0 w 2616"/>
                <a:gd name="T31" fmla="*/ 0 h 3962"/>
                <a:gd name="T32" fmla="*/ 0 w 2616"/>
                <a:gd name="T33" fmla="*/ 0 h 3962"/>
                <a:gd name="T34" fmla="*/ 0 w 2616"/>
                <a:gd name="T35" fmla="*/ 0 h 3962"/>
                <a:gd name="T36" fmla="*/ 0 w 2616"/>
                <a:gd name="T37" fmla="*/ 0 h 3962"/>
                <a:gd name="T38" fmla="*/ 0 w 2616"/>
                <a:gd name="T39" fmla="*/ 0 h 3962"/>
                <a:gd name="T40" fmla="*/ 0 w 2616"/>
                <a:gd name="T41" fmla="*/ 0 h 3962"/>
                <a:gd name="T42" fmla="*/ 0 w 2616"/>
                <a:gd name="T43" fmla="*/ 0 h 3962"/>
                <a:gd name="T44" fmla="*/ 0 w 2616"/>
                <a:gd name="T45" fmla="*/ 0 h 3962"/>
                <a:gd name="T46" fmla="*/ 0 w 2616"/>
                <a:gd name="T47" fmla="*/ 0 h 3962"/>
                <a:gd name="T48" fmla="*/ 0 w 2616"/>
                <a:gd name="T49" fmla="*/ 0 h 3962"/>
                <a:gd name="T50" fmla="*/ 0 w 2616"/>
                <a:gd name="T51" fmla="*/ 0 h 3962"/>
                <a:gd name="T52" fmla="*/ 0 w 2616"/>
                <a:gd name="T53" fmla="*/ 0 h 3962"/>
                <a:gd name="T54" fmla="*/ 0 w 2616"/>
                <a:gd name="T55" fmla="*/ 0 h 3962"/>
                <a:gd name="T56" fmla="*/ 0 w 2616"/>
                <a:gd name="T57" fmla="*/ 0 h 3962"/>
                <a:gd name="T58" fmla="*/ 0 w 2616"/>
                <a:gd name="T59" fmla="*/ 0 h 3962"/>
                <a:gd name="T60" fmla="*/ 0 w 2616"/>
                <a:gd name="T61" fmla="*/ 0 h 3962"/>
                <a:gd name="T62" fmla="*/ 0 w 2616"/>
                <a:gd name="T63" fmla="*/ 0 h 3962"/>
                <a:gd name="T64" fmla="*/ 0 w 2616"/>
                <a:gd name="T65" fmla="*/ 0 h 3962"/>
                <a:gd name="T66" fmla="*/ 0 w 2616"/>
                <a:gd name="T67" fmla="*/ 0 h 3962"/>
                <a:gd name="T68" fmla="*/ 0 w 2616"/>
                <a:gd name="T69" fmla="*/ 0 h 3962"/>
                <a:gd name="T70" fmla="*/ 0 w 2616"/>
                <a:gd name="T71" fmla="*/ 0 h 3962"/>
                <a:gd name="T72" fmla="*/ 0 w 2616"/>
                <a:gd name="T73" fmla="*/ 0 h 3962"/>
                <a:gd name="T74" fmla="*/ 0 w 2616"/>
                <a:gd name="T75" fmla="*/ 0 h 3962"/>
                <a:gd name="T76" fmla="*/ 0 w 2616"/>
                <a:gd name="T77" fmla="*/ 0 h 3962"/>
                <a:gd name="T78" fmla="*/ 0 w 2616"/>
                <a:gd name="T79" fmla="*/ 0 h 3962"/>
                <a:gd name="T80" fmla="*/ 0 w 2616"/>
                <a:gd name="T81" fmla="*/ 0 h 3962"/>
                <a:gd name="T82" fmla="*/ 0 w 2616"/>
                <a:gd name="T83" fmla="*/ 0 h 3962"/>
                <a:gd name="T84" fmla="*/ 0 w 2616"/>
                <a:gd name="T85" fmla="*/ 0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8" name="Freeform 15"/>
            <p:cNvSpPr>
              <a:spLocks noEditPoints="1"/>
            </p:cNvSpPr>
            <p:nvPr/>
          </p:nvSpPr>
          <p:spPr bwMode="auto">
            <a:xfrm>
              <a:off x="19993" y="1044"/>
              <a:ext cx="233" cy="233"/>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grpSp>
      <p:sp>
        <p:nvSpPr>
          <p:cNvPr id="1029" name="Line 2"/>
          <p:cNvSpPr>
            <a:spLocks noChangeShapeType="1"/>
          </p:cNvSpPr>
          <p:nvPr/>
        </p:nvSpPr>
        <p:spPr bwMode="auto">
          <a:xfrm>
            <a:off x="8" y="881063"/>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32" name="TextBox 31"/>
          <p:cNvSpPr txBox="1"/>
          <p:nvPr/>
        </p:nvSpPr>
        <p:spPr>
          <a:xfrm>
            <a:off x="8540750" y="658814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
        <p:nvSpPr>
          <p:cNvPr id="2" name="TextBox 1"/>
          <p:cNvSpPr txBox="1"/>
          <p:nvPr userDrawn="1"/>
        </p:nvSpPr>
        <p:spPr>
          <a:xfrm>
            <a:off x="8" y="6553200"/>
            <a:ext cx="9140825" cy="261610"/>
          </a:xfrm>
          <a:prstGeom prst="rect">
            <a:avLst/>
          </a:prstGeom>
          <a:noFill/>
        </p:spPr>
        <p:txBody>
          <a:bodyPr wrap="square" rtlCol="0">
            <a:spAutoFit/>
          </a:bodyPr>
          <a:lstStyle/>
          <a:p>
            <a:pPr algn="ctr" defTabSz="912689"/>
            <a:r>
              <a:rPr lang="en-US" sz="1100">
                <a:solidFill>
                  <a:srgbClr val="FF0000"/>
                </a:solidFill>
              </a:rPr>
              <a:t>Internal &amp; Confidential</a:t>
            </a:r>
          </a:p>
        </p:txBody>
      </p:sp>
    </p:spTree>
    <p:extLst>
      <p:ext uri="{BB962C8B-B14F-4D97-AF65-F5344CB8AC3E}">
        <p14:creationId xmlns:p14="http://schemas.microsoft.com/office/powerpoint/2010/main" val="5187261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Lst>
  <p:hf sldNum="0" hdr="0" ftr="0" dt="0"/>
  <p:txStyles>
    <p:titleStyle>
      <a:lvl1pPr algn="r" rtl="0" eaLnBrk="0" fontAlgn="base" hangingPunct="0">
        <a:spcBef>
          <a:spcPct val="0"/>
        </a:spcBef>
        <a:spcAft>
          <a:spcPct val="0"/>
        </a:spcAft>
        <a:defRPr sz="2400" b="1">
          <a:solidFill>
            <a:schemeClr val="accent1">
              <a:lumMod val="75000"/>
            </a:schemeClr>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6344"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2689"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69030"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5379" algn="l" rtl="0" eaLnBrk="1" fontAlgn="base" hangingPunct="1">
        <a:spcBef>
          <a:spcPct val="0"/>
        </a:spcBef>
        <a:spcAft>
          <a:spcPct val="0"/>
        </a:spcAft>
        <a:defRPr sz="2400" b="1">
          <a:solidFill>
            <a:srgbClr val="5B7893"/>
          </a:solidFill>
          <a:latin typeface="Arial" charset="0"/>
          <a:ea typeface="ＭＳ Ｐゴシック" pitchFamily="1" charset="-128"/>
        </a:defRPr>
      </a:lvl9pPr>
    </p:titleStyle>
    <p:bodyStyle>
      <a:lvl1pPr marL="342259" indent="-342259" algn="l" rtl="0" eaLnBrk="0" fontAlgn="base" hangingPunct="0">
        <a:spcBef>
          <a:spcPct val="25000"/>
        </a:spcBef>
        <a:spcAft>
          <a:spcPct val="20000"/>
        </a:spcAft>
        <a:defRPr b="1">
          <a:solidFill>
            <a:srgbClr val="333333"/>
          </a:solidFill>
          <a:latin typeface="+mn-lt"/>
          <a:ea typeface="+mn-ea"/>
          <a:cs typeface="+mn-cs"/>
        </a:defRPr>
      </a:lvl1pPr>
      <a:lvl2pPr marL="285215" indent="-171129" algn="l" rtl="0" eaLnBrk="0" fontAlgn="base" hangingPunct="0">
        <a:spcBef>
          <a:spcPct val="25000"/>
        </a:spcBef>
        <a:spcAft>
          <a:spcPct val="20000"/>
        </a:spcAft>
        <a:buClr>
          <a:srgbClr val="006699"/>
        </a:buClr>
        <a:buSzPct val="100000"/>
        <a:buFont typeface="Arial" charset="0"/>
        <a:buChar char="•"/>
        <a:defRPr sz="1600">
          <a:solidFill>
            <a:srgbClr val="333333"/>
          </a:solidFill>
          <a:latin typeface="+mn-lt"/>
          <a:ea typeface="+mn-ea"/>
        </a:defRPr>
      </a:lvl2pPr>
      <a:lvl3pPr marL="573599" indent="-174295" algn="l" rtl="0" eaLnBrk="0" fontAlgn="base" hangingPunct="0">
        <a:spcBef>
          <a:spcPct val="25000"/>
        </a:spcBef>
        <a:spcAft>
          <a:spcPct val="20000"/>
        </a:spcAft>
        <a:buClr>
          <a:srgbClr val="006699"/>
        </a:buClr>
        <a:buFont typeface="Symbol" pitchFamily="18" charset="2"/>
        <a:buChar char=""/>
        <a:defRPr sz="1400">
          <a:solidFill>
            <a:srgbClr val="333333"/>
          </a:solidFill>
          <a:latin typeface="+mn-lt"/>
          <a:ea typeface="+mn-ea"/>
        </a:defRPr>
      </a:lvl3pPr>
      <a:lvl4pPr marL="854066" indent="-166376" algn="l" rtl="0" eaLnBrk="0" fontAlgn="base" hangingPunct="0">
        <a:spcBef>
          <a:spcPct val="25000"/>
        </a:spcBef>
        <a:spcAft>
          <a:spcPct val="20000"/>
        </a:spcAft>
        <a:buClr>
          <a:srgbClr val="006699"/>
        </a:buClr>
        <a:buSzPct val="100000"/>
        <a:buFont typeface="Arial" charset="0"/>
        <a:buChar char="•"/>
        <a:defRPr sz="1200">
          <a:solidFill>
            <a:srgbClr val="333333"/>
          </a:solidFill>
          <a:latin typeface="+mn-lt"/>
          <a:ea typeface="+mn-ea"/>
        </a:defRPr>
      </a:lvl4pPr>
      <a:lvl5pPr marL="1140861" indent="-172712" algn="l" rtl="0" eaLnBrk="0" fontAlgn="base" hangingPunct="0">
        <a:spcBef>
          <a:spcPct val="25000"/>
        </a:spcBef>
        <a:spcAft>
          <a:spcPct val="20000"/>
        </a:spcAft>
        <a:buClr>
          <a:srgbClr val="006699"/>
        </a:buClr>
        <a:buFont typeface="Symbol" pitchFamily="18" charset="2"/>
        <a:buChar char=""/>
        <a:defRPr sz="1000">
          <a:solidFill>
            <a:srgbClr val="333333"/>
          </a:solidFill>
          <a:latin typeface="+mn-lt"/>
          <a:ea typeface="+mn-ea"/>
        </a:defRPr>
      </a:lvl5pPr>
      <a:lvl6pPr marL="1597210"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6pPr>
      <a:lvl7pPr marL="2053552"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7pPr>
      <a:lvl8pPr marL="2509899"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8pPr>
      <a:lvl9pPr marL="2966246"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9pPr>
    </p:bodyStyle>
    <p:otherStyle>
      <a:defPPr>
        <a:defRPr lang="en-US"/>
      </a:defPPr>
      <a:lvl1pPr marL="0" algn="l" defTabSz="912689" rtl="0" eaLnBrk="1" latinLnBrk="0" hangingPunct="1">
        <a:defRPr sz="1800" kern="1200">
          <a:solidFill>
            <a:schemeClr val="tx1"/>
          </a:solidFill>
          <a:latin typeface="+mn-lt"/>
          <a:ea typeface="+mn-ea"/>
          <a:cs typeface="+mn-cs"/>
        </a:defRPr>
      </a:lvl1pPr>
      <a:lvl2pPr marL="456344" algn="l" defTabSz="912689" rtl="0" eaLnBrk="1" latinLnBrk="0" hangingPunct="1">
        <a:defRPr sz="1800" kern="1200">
          <a:solidFill>
            <a:schemeClr val="tx1"/>
          </a:solidFill>
          <a:latin typeface="+mn-lt"/>
          <a:ea typeface="+mn-ea"/>
          <a:cs typeface="+mn-cs"/>
        </a:defRPr>
      </a:lvl2pPr>
      <a:lvl3pPr marL="912689" algn="l" defTabSz="912689" rtl="0" eaLnBrk="1" latinLnBrk="0" hangingPunct="1">
        <a:defRPr sz="1800" kern="1200">
          <a:solidFill>
            <a:schemeClr val="tx1"/>
          </a:solidFill>
          <a:latin typeface="+mn-lt"/>
          <a:ea typeface="+mn-ea"/>
          <a:cs typeface="+mn-cs"/>
        </a:defRPr>
      </a:lvl3pPr>
      <a:lvl4pPr marL="1369030" algn="l" defTabSz="912689" rtl="0" eaLnBrk="1" latinLnBrk="0" hangingPunct="1">
        <a:defRPr sz="1800" kern="1200">
          <a:solidFill>
            <a:schemeClr val="tx1"/>
          </a:solidFill>
          <a:latin typeface="+mn-lt"/>
          <a:ea typeface="+mn-ea"/>
          <a:cs typeface="+mn-cs"/>
        </a:defRPr>
      </a:lvl4pPr>
      <a:lvl5pPr marL="1825379" algn="l" defTabSz="912689" rtl="0" eaLnBrk="1" latinLnBrk="0" hangingPunct="1">
        <a:defRPr sz="1800" kern="1200">
          <a:solidFill>
            <a:schemeClr val="tx1"/>
          </a:solidFill>
          <a:latin typeface="+mn-lt"/>
          <a:ea typeface="+mn-ea"/>
          <a:cs typeface="+mn-cs"/>
        </a:defRPr>
      </a:lvl5pPr>
      <a:lvl6pPr marL="2281726" algn="l" defTabSz="912689" rtl="0" eaLnBrk="1" latinLnBrk="0" hangingPunct="1">
        <a:defRPr sz="1800" kern="1200">
          <a:solidFill>
            <a:schemeClr val="tx1"/>
          </a:solidFill>
          <a:latin typeface="+mn-lt"/>
          <a:ea typeface="+mn-ea"/>
          <a:cs typeface="+mn-cs"/>
        </a:defRPr>
      </a:lvl6pPr>
      <a:lvl7pPr marL="2738067" algn="l" defTabSz="912689" rtl="0" eaLnBrk="1" latinLnBrk="0" hangingPunct="1">
        <a:defRPr sz="1800" kern="1200">
          <a:solidFill>
            <a:schemeClr val="tx1"/>
          </a:solidFill>
          <a:latin typeface="+mn-lt"/>
          <a:ea typeface="+mn-ea"/>
          <a:cs typeface="+mn-cs"/>
        </a:defRPr>
      </a:lvl7pPr>
      <a:lvl8pPr marL="3194416" algn="l" defTabSz="912689" rtl="0" eaLnBrk="1" latinLnBrk="0" hangingPunct="1">
        <a:defRPr sz="1800" kern="1200">
          <a:solidFill>
            <a:schemeClr val="tx1"/>
          </a:solidFill>
          <a:latin typeface="+mn-lt"/>
          <a:ea typeface="+mn-ea"/>
          <a:cs typeface="+mn-cs"/>
        </a:defRPr>
      </a:lvl8pPr>
      <a:lvl9pPr marL="3650762" algn="l" defTabSz="912689"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541472" y="-4763"/>
            <a:ext cx="7450137"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625" numCol="1" anchor="b"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57200" y="1250958"/>
            <a:ext cx="82296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28" name="Group 8"/>
          <p:cNvGrpSpPr>
            <a:grpSpLocks/>
          </p:cNvGrpSpPr>
          <p:nvPr/>
        </p:nvGrpSpPr>
        <p:grpSpPr bwMode="auto">
          <a:xfrm>
            <a:off x="101601" y="104775"/>
            <a:ext cx="668338" cy="685800"/>
            <a:chOff x="18142" y="955"/>
            <a:chExt cx="2084" cy="2140"/>
          </a:xfrm>
        </p:grpSpPr>
        <p:sp>
          <p:nvSpPr>
            <p:cNvPr id="1032" name="Rectangle 9"/>
            <p:cNvSpPr>
              <a:spLocks noChangeArrowheads="1"/>
            </p:cNvSpPr>
            <p:nvPr/>
          </p:nvSpPr>
          <p:spPr bwMode="auto">
            <a:xfrm>
              <a:off x="18142" y="955"/>
              <a:ext cx="1871"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1033" name="Freeform 10"/>
            <p:cNvSpPr>
              <a:spLocks/>
            </p:cNvSpPr>
            <p:nvPr/>
          </p:nvSpPr>
          <p:spPr bwMode="auto">
            <a:xfrm>
              <a:off x="19102" y="2392"/>
              <a:ext cx="396" cy="619"/>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4" name="Freeform 11"/>
            <p:cNvSpPr>
              <a:spLocks/>
            </p:cNvSpPr>
            <p:nvPr/>
          </p:nvSpPr>
          <p:spPr bwMode="auto">
            <a:xfrm>
              <a:off x="19221" y="2738"/>
              <a:ext cx="168" cy="173"/>
            </a:xfrm>
            <a:custGeom>
              <a:avLst/>
              <a:gdLst>
                <a:gd name="T0" fmla="*/ 1 w 336"/>
                <a:gd name="T1" fmla="*/ 1 h 343"/>
                <a:gd name="T2" fmla="*/ 1 w 336"/>
                <a:gd name="T3" fmla="*/ 1 h 343"/>
                <a:gd name="T4" fmla="*/ 1 w 336"/>
                <a:gd name="T5" fmla="*/ 1 h 343"/>
                <a:gd name="T6" fmla="*/ 1 w 336"/>
                <a:gd name="T7" fmla="*/ 1 h 343"/>
                <a:gd name="T8" fmla="*/ 1 w 336"/>
                <a:gd name="T9" fmla="*/ 1 h 343"/>
                <a:gd name="T10" fmla="*/ 1 w 336"/>
                <a:gd name="T11" fmla="*/ 1 h 343"/>
                <a:gd name="T12" fmla="*/ 1 w 336"/>
                <a:gd name="T13" fmla="*/ 1 h 343"/>
                <a:gd name="T14" fmla="*/ 1 w 336"/>
                <a:gd name="T15" fmla="*/ 0 h 343"/>
                <a:gd name="T16" fmla="*/ 1 w 336"/>
                <a:gd name="T17" fmla="*/ 0 h 343"/>
                <a:gd name="T18" fmla="*/ 1 w 336"/>
                <a:gd name="T19" fmla="*/ 1 h 343"/>
                <a:gd name="T20" fmla="*/ 1 w 336"/>
                <a:gd name="T21" fmla="*/ 1 h 343"/>
                <a:gd name="T22" fmla="*/ 0 w 336"/>
                <a:gd name="T23" fmla="*/ 1 h 343"/>
                <a:gd name="T24" fmla="*/ 1 w 336"/>
                <a:gd name="T25" fmla="*/ 1 h 343"/>
                <a:gd name="T26" fmla="*/ 1 w 336"/>
                <a:gd name="T27" fmla="*/ 1 h 343"/>
                <a:gd name="T28" fmla="*/ 1 w 336"/>
                <a:gd name="T29" fmla="*/ 1 h 343"/>
                <a:gd name="T30" fmla="*/ 1 w 336"/>
                <a:gd name="T31" fmla="*/ 1 h 343"/>
                <a:gd name="T32" fmla="*/ 1 w 336"/>
                <a:gd name="T33" fmla="*/ 1 h 343"/>
                <a:gd name="T34" fmla="*/ 1 w 336"/>
                <a:gd name="T35" fmla="*/ 1 h 343"/>
                <a:gd name="T36" fmla="*/ 1 w 336"/>
                <a:gd name="T37" fmla="*/ 1 h 343"/>
                <a:gd name="T38" fmla="*/ 1 w 336"/>
                <a:gd name="T39" fmla="*/ 1 h 343"/>
                <a:gd name="T40" fmla="*/ 1 w 336"/>
                <a:gd name="T41" fmla="*/ 1 h 343"/>
                <a:gd name="T42" fmla="*/ 1 w 336"/>
                <a:gd name="T43" fmla="*/ 1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5" name="Freeform 12"/>
            <p:cNvSpPr>
              <a:spLocks/>
            </p:cNvSpPr>
            <p:nvPr/>
          </p:nvSpPr>
          <p:spPr bwMode="auto">
            <a:xfrm>
              <a:off x="19538" y="1039"/>
              <a:ext cx="391" cy="1977"/>
            </a:xfrm>
            <a:custGeom>
              <a:avLst/>
              <a:gdLst>
                <a:gd name="T0" fmla="*/ 0 w 785"/>
                <a:gd name="T1" fmla="*/ 0 h 3959"/>
                <a:gd name="T2" fmla="*/ 0 w 785"/>
                <a:gd name="T3" fmla="*/ 0 h 3959"/>
                <a:gd name="T4" fmla="*/ 0 w 785"/>
                <a:gd name="T5" fmla="*/ 0 h 3959"/>
                <a:gd name="T6" fmla="*/ 0 w 785"/>
                <a:gd name="T7" fmla="*/ 0 h 3959"/>
                <a:gd name="T8" fmla="*/ 0 w 785"/>
                <a:gd name="T9" fmla="*/ 0 h 3959"/>
                <a:gd name="T10" fmla="*/ 0 w 785"/>
                <a:gd name="T11" fmla="*/ 0 h 3959"/>
                <a:gd name="T12" fmla="*/ 0 w 785"/>
                <a:gd name="T13" fmla="*/ 0 h 3959"/>
                <a:gd name="T14" fmla="*/ 0 w 785"/>
                <a:gd name="T15" fmla="*/ 0 h 3959"/>
                <a:gd name="T16" fmla="*/ 0 w 785"/>
                <a:gd name="T17" fmla="*/ 0 h 3959"/>
                <a:gd name="T18" fmla="*/ 0 w 785"/>
                <a:gd name="T19" fmla="*/ 0 h 3959"/>
                <a:gd name="T20" fmla="*/ 0 w 785"/>
                <a:gd name="T21" fmla="*/ 0 h 3959"/>
                <a:gd name="T22" fmla="*/ 0 w 785"/>
                <a:gd name="T23" fmla="*/ 0 h 3959"/>
                <a:gd name="T24" fmla="*/ 0 w 785"/>
                <a:gd name="T25" fmla="*/ 0 h 3959"/>
                <a:gd name="T26" fmla="*/ 0 w 785"/>
                <a:gd name="T27" fmla="*/ 0 h 3959"/>
                <a:gd name="T28" fmla="*/ 0 w 785"/>
                <a:gd name="T29" fmla="*/ 0 h 3959"/>
                <a:gd name="T30" fmla="*/ 0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6" name="Freeform 13"/>
            <p:cNvSpPr>
              <a:spLocks/>
            </p:cNvSpPr>
            <p:nvPr/>
          </p:nvSpPr>
          <p:spPr bwMode="auto">
            <a:xfrm>
              <a:off x="18424" y="2397"/>
              <a:ext cx="74" cy="218"/>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0 w 152"/>
                <a:gd name="T17" fmla="*/ 1 h 435"/>
                <a:gd name="T18" fmla="*/ 0 w 152"/>
                <a:gd name="T19" fmla="*/ 1 h 435"/>
                <a:gd name="T20" fmla="*/ 0 w 152"/>
                <a:gd name="T21" fmla="*/ 1 h 435"/>
                <a:gd name="T22" fmla="*/ 0 w 152"/>
                <a:gd name="T23" fmla="*/ 1 h 435"/>
                <a:gd name="T24" fmla="*/ 0 w 152"/>
                <a:gd name="T25" fmla="*/ 1 h 435"/>
                <a:gd name="T26" fmla="*/ 0 w 152"/>
                <a:gd name="T27" fmla="*/ 1 h 435"/>
                <a:gd name="T28" fmla="*/ 0 w 152"/>
                <a:gd name="T29" fmla="*/ 1 h 435"/>
                <a:gd name="T30" fmla="*/ 0 w 152"/>
                <a:gd name="T31" fmla="*/ 1 h 435"/>
                <a:gd name="T32" fmla="*/ 0 w 152"/>
                <a:gd name="T33" fmla="*/ 1 h 435"/>
                <a:gd name="T34" fmla="*/ 0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7" name="Freeform 14"/>
            <p:cNvSpPr>
              <a:spLocks/>
            </p:cNvSpPr>
            <p:nvPr/>
          </p:nvSpPr>
          <p:spPr bwMode="auto">
            <a:xfrm>
              <a:off x="18221" y="1039"/>
              <a:ext cx="1307" cy="1977"/>
            </a:xfrm>
            <a:custGeom>
              <a:avLst/>
              <a:gdLst>
                <a:gd name="T0" fmla="*/ 0 w 2616"/>
                <a:gd name="T1" fmla="*/ 0 h 3962"/>
                <a:gd name="T2" fmla="*/ 0 w 2616"/>
                <a:gd name="T3" fmla="*/ 0 h 3962"/>
                <a:gd name="T4" fmla="*/ 0 w 2616"/>
                <a:gd name="T5" fmla="*/ 0 h 3962"/>
                <a:gd name="T6" fmla="*/ 0 w 2616"/>
                <a:gd name="T7" fmla="*/ 0 h 3962"/>
                <a:gd name="T8" fmla="*/ 0 w 2616"/>
                <a:gd name="T9" fmla="*/ 0 h 3962"/>
                <a:gd name="T10" fmla="*/ 0 w 2616"/>
                <a:gd name="T11" fmla="*/ 0 h 3962"/>
                <a:gd name="T12" fmla="*/ 0 w 2616"/>
                <a:gd name="T13" fmla="*/ 0 h 3962"/>
                <a:gd name="T14" fmla="*/ 0 w 2616"/>
                <a:gd name="T15" fmla="*/ 0 h 3962"/>
                <a:gd name="T16" fmla="*/ 0 w 2616"/>
                <a:gd name="T17" fmla="*/ 0 h 3962"/>
                <a:gd name="T18" fmla="*/ 0 w 2616"/>
                <a:gd name="T19" fmla="*/ 0 h 3962"/>
                <a:gd name="T20" fmla="*/ 0 w 2616"/>
                <a:gd name="T21" fmla="*/ 0 h 3962"/>
                <a:gd name="T22" fmla="*/ 0 w 2616"/>
                <a:gd name="T23" fmla="*/ 0 h 3962"/>
                <a:gd name="T24" fmla="*/ 0 w 2616"/>
                <a:gd name="T25" fmla="*/ 0 h 3962"/>
                <a:gd name="T26" fmla="*/ 0 w 2616"/>
                <a:gd name="T27" fmla="*/ 0 h 3962"/>
                <a:gd name="T28" fmla="*/ 0 w 2616"/>
                <a:gd name="T29" fmla="*/ 0 h 3962"/>
                <a:gd name="T30" fmla="*/ 0 w 2616"/>
                <a:gd name="T31" fmla="*/ 0 h 3962"/>
                <a:gd name="T32" fmla="*/ 0 w 2616"/>
                <a:gd name="T33" fmla="*/ 0 h 3962"/>
                <a:gd name="T34" fmla="*/ 0 w 2616"/>
                <a:gd name="T35" fmla="*/ 0 h 3962"/>
                <a:gd name="T36" fmla="*/ 0 w 2616"/>
                <a:gd name="T37" fmla="*/ 0 h 3962"/>
                <a:gd name="T38" fmla="*/ 0 w 2616"/>
                <a:gd name="T39" fmla="*/ 0 h 3962"/>
                <a:gd name="T40" fmla="*/ 0 w 2616"/>
                <a:gd name="T41" fmla="*/ 0 h 3962"/>
                <a:gd name="T42" fmla="*/ 0 w 2616"/>
                <a:gd name="T43" fmla="*/ 0 h 3962"/>
                <a:gd name="T44" fmla="*/ 0 w 2616"/>
                <a:gd name="T45" fmla="*/ 0 h 3962"/>
                <a:gd name="T46" fmla="*/ 0 w 2616"/>
                <a:gd name="T47" fmla="*/ 0 h 3962"/>
                <a:gd name="T48" fmla="*/ 0 w 2616"/>
                <a:gd name="T49" fmla="*/ 0 h 3962"/>
                <a:gd name="T50" fmla="*/ 0 w 2616"/>
                <a:gd name="T51" fmla="*/ 0 h 3962"/>
                <a:gd name="T52" fmla="*/ 0 w 2616"/>
                <a:gd name="T53" fmla="*/ 0 h 3962"/>
                <a:gd name="T54" fmla="*/ 0 w 2616"/>
                <a:gd name="T55" fmla="*/ 0 h 3962"/>
                <a:gd name="T56" fmla="*/ 0 w 2616"/>
                <a:gd name="T57" fmla="*/ 0 h 3962"/>
                <a:gd name="T58" fmla="*/ 0 w 2616"/>
                <a:gd name="T59" fmla="*/ 0 h 3962"/>
                <a:gd name="T60" fmla="*/ 0 w 2616"/>
                <a:gd name="T61" fmla="*/ 0 h 3962"/>
                <a:gd name="T62" fmla="*/ 0 w 2616"/>
                <a:gd name="T63" fmla="*/ 0 h 3962"/>
                <a:gd name="T64" fmla="*/ 0 w 2616"/>
                <a:gd name="T65" fmla="*/ 0 h 3962"/>
                <a:gd name="T66" fmla="*/ 0 w 2616"/>
                <a:gd name="T67" fmla="*/ 0 h 3962"/>
                <a:gd name="T68" fmla="*/ 0 w 2616"/>
                <a:gd name="T69" fmla="*/ 0 h 3962"/>
                <a:gd name="T70" fmla="*/ 0 w 2616"/>
                <a:gd name="T71" fmla="*/ 0 h 3962"/>
                <a:gd name="T72" fmla="*/ 0 w 2616"/>
                <a:gd name="T73" fmla="*/ 0 h 3962"/>
                <a:gd name="T74" fmla="*/ 0 w 2616"/>
                <a:gd name="T75" fmla="*/ 0 h 3962"/>
                <a:gd name="T76" fmla="*/ 0 w 2616"/>
                <a:gd name="T77" fmla="*/ 0 h 3962"/>
                <a:gd name="T78" fmla="*/ 0 w 2616"/>
                <a:gd name="T79" fmla="*/ 0 h 3962"/>
                <a:gd name="T80" fmla="*/ 0 w 2616"/>
                <a:gd name="T81" fmla="*/ 0 h 3962"/>
                <a:gd name="T82" fmla="*/ 0 w 2616"/>
                <a:gd name="T83" fmla="*/ 0 h 3962"/>
                <a:gd name="T84" fmla="*/ 0 w 2616"/>
                <a:gd name="T85" fmla="*/ 0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8" name="Freeform 15"/>
            <p:cNvSpPr>
              <a:spLocks noEditPoints="1"/>
            </p:cNvSpPr>
            <p:nvPr/>
          </p:nvSpPr>
          <p:spPr bwMode="auto">
            <a:xfrm>
              <a:off x="19993" y="1044"/>
              <a:ext cx="233" cy="233"/>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grpSp>
      <p:sp>
        <p:nvSpPr>
          <p:cNvPr id="1029" name="Line 2"/>
          <p:cNvSpPr>
            <a:spLocks noChangeShapeType="1"/>
          </p:cNvSpPr>
          <p:nvPr/>
        </p:nvSpPr>
        <p:spPr bwMode="auto">
          <a:xfrm>
            <a:off x="8" y="881063"/>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32" name="TextBox 31"/>
          <p:cNvSpPr txBox="1"/>
          <p:nvPr/>
        </p:nvSpPr>
        <p:spPr>
          <a:xfrm>
            <a:off x="8540750" y="658814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
        <p:nvSpPr>
          <p:cNvPr id="2" name="TextBox 1"/>
          <p:cNvSpPr txBox="1"/>
          <p:nvPr userDrawn="1"/>
        </p:nvSpPr>
        <p:spPr>
          <a:xfrm>
            <a:off x="8" y="6553200"/>
            <a:ext cx="9140825" cy="261610"/>
          </a:xfrm>
          <a:prstGeom prst="rect">
            <a:avLst/>
          </a:prstGeom>
          <a:noFill/>
        </p:spPr>
        <p:txBody>
          <a:bodyPr wrap="square" rtlCol="0">
            <a:spAutoFit/>
          </a:bodyPr>
          <a:lstStyle/>
          <a:p>
            <a:pPr algn="ctr" defTabSz="912689"/>
            <a:r>
              <a:rPr lang="en-US" sz="1100">
                <a:solidFill>
                  <a:srgbClr val="FF0000"/>
                </a:solidFill>
              </a:rPr>
              <a:t>Internal &amp; Confidential</a:t>
            </a:r>
          </a:p>
        </p:txBody>
      </p:sp>
    </p:spTree>
    <p:extLst>
      <p:ext uri="{BB962C8B-B14F-4D97-AF65-F5344CB8AC3E}">
        <p14:creationId xmlns:p14="http://schemas.microsoft.com/office/powerpoint/2010/main" val="1573078294"/>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Lst>
  <p:hf sldNum="0" hdr="0" ftr="0" dt="0"/>
  <p:txStyles>
    <p:titleStyle>
      <a:lvl1pPr algn="r" rtl="0" eaLnBrk="0" fontAlgn="base" hangingPunct="0">
        <a:spcBef>
          <a:spcPct val="0"/>
        </a:spcBef>
        <a:spcAft>
          <a:spcPct val="0"/>
        </a:spcAft>
        <a:defRPr sz="2400" b="1">
          <a:solidFill>
            <a:schemeClr val="accent1">
              <a:lumMod val="75000"/>
            </a:schemeClr>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6344"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2689"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69030"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5379" algn="l" rtl="0" eaLnBrk="1" fontAlgn="base" hangingPunct="1">
        <a:spcBef>
          <a:spcPct val="0"/>
        </a:spcBef>
        <a:spcAft>
          <a:spcPct val="0"/>
        </a:spcAft>
        <a:defRPr sz="2400" b="1">
          <a:solidFill>
            <a:srgbClr val="5B7893"/>
          </a:solidFill>
          <a:latin typeface="Arial" charset="0"/>
          <a:ea typeface="ＭＳ Ｐゴシック" pitchFamily="1" charset="-128"/>
        </a:defRPr>
      </a:lvl9pPr>
    </p:titleStyle>
    <p:bodyStyle>
      <a:lvl1pPr marL="342259" indent="-342259" algn="l" rtl="0" eaLnBrk="0" fontAlgn="base" hangingPunct="0">
        <a:spcBef>
          <a:spcPct val="25000"/>
        </a:spcBef>
        <a:spcAft>
          <a:spcPct val="20000"/>
        </a:spcAft>
        <a:defRPr b="1">
          <a:solidFill>
            <a:srgbClr val="333333"/>
          </a:solidFill>
          <a:latin typeface="+mn-lt"/>
          <a:ea typeface="+mn-ea"/>
          <a:cs typeface="+mn-cs"/>
        </a:defRPr>
      </a:lvl1pPr>
      <a:lvl2pPr marL="285215" indent="-171129" algn="l" rtl="0" eaLnBrk="0" fontAlgn="base" hangingPunct="0">
        <a:spcBef>
          <a:spcPct val="25000"/>
        </a:spcBef>
        <a:spcAft>
          <a:spcPct val="20000"/>
        </a:spcAft>
        <a:buClr>
          <a:srgbClr val="006699"/>
        </a:buClr>
        <a:buSzPct val="100000"/>
        <a:buFont typeface="Arial" charset="0"/>
        <a:buChar char="•"/>
        <a:defRPr sz="1600">
          <a:solidFill>
            <a:srgbClr val="333333"/>
          </a:solidFill>
          <a:latin typeface="+mn-lt"/>
          <a:ea typeface="+mn-ea"/>
        </a:defRPr>
      </a:lvl2pPr>
      <a:lvl3pPr marL="573599" indent="-174295" algn="l" rtl="0" eaLnBrk="0" fontAlgn="base" hangingPunct="0">
        <a:spcBef>
          <a:spcPct val="25000"/>
        </a:spcBef>
        <a:spcAft>
          <a:spcPct val="20000"/>
        </a:spcAft>
        <a:buClr>
          <a:srgbClr val="006699"/>
        </a:buClr>
        <a:buFont typeface="Symbol" pitchFamily="18" charset="2"/>
        <a:buChar char=""/>
        <a:defRPr sz="1400">
          <a:solidFill>
            <a:srgbClr val="333333"/>
          </a:solidFill>
          <a:latin typeface="+mn-lt"/>
          <a:ea typeface="+mn-ea"/>
        </a:defRPr>
      </a:lvl3pPr>
      <a:lvl4pPr marL="854066" indent="-166376" algn="l" rtl="0" eaLnBrk="0" fontAlgn="base" hangingPunct="0">
        <a:spcBef>
          <a:spcPct val="25000"/>
        </a:spcBef>
        <a:spcAft>
          <a:spcPct val="20000"/>
        </a:spcAft>
        <a:buClr>
          <a:srgbClr val="006699"/>
        </a:buClr>
        <a:buSzPct val="100000"/>
        <a:buFont typeface="Arial" charset="0"/>
        <a:buChar char="•"/>
        <a:defRPr sz="1200">
          <a:solidFill>
            <a:srgbClr val="333333"/>
          </a:solidFill>
          <a:latin typeface="+mn-lt"/>
          <a:ea typeface="+mn-ea"/>
        </a:defRPr>
      </a:lvl4pPr>
      <a:lvl5pPr marL="1140861" indent="-172712" algn="l" rtl="0" eaLnBrk="0" fontAlgn="base" hangingPunct="0">
        <a:spcBef>
          <a:spcPct val="25000"/>
        </a:spcBef>
        <a:spcAft>
          <a:spcPct val="20000"/>
        </a:spcAft>
        <a:buClr>
          <a:srgbClr val="006699"/>
        </a:buClr>
        <a:buFont typeface="Symbol" pitchFamily="18" charset="2"/>
        <a:buChar char=""/>
        <a:defRPr sz="1000">
          <a:solidFill>
            <a:srgbClr val="333333"/>
          </a:solidFill>
          <a:latin typeface="+mn-lt"/>
          <a:ea typeface="+mn-ea"/>
        </a:defRPr>
      </a:lvl5pPr>
      <a:lvl6pPr marL="1597210"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6pPr>
      <a:lvl7pPr marL="2053552"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7pPr>
      <a:lvl8pPr marL="2509899"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8pPr>
      <a:lvl9pPr marL="2966246"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9pPr>
    </p:bodyStyle>
    <p:otherStyle>
      <a:defPPr>
        <a:defRPr lang="en-US"/>
      </a:defPPr>
      <a:lvl1pPr marL="0" algn="l" defTabSz="912689" rtl="0" eaLnBrk="1" latinLnBrk="0" hangingPunct="1">
        <a:defRPr sz="1800" kern="1200">
          <a:solidFill>
            <a:schemeClr val="tx1"/>
          </a:solidFill>
          <a:latin typeface="+mn-lt"/>
          <a:ea typeface="+mn-ea"/>
          <a:cs typeface="+mn-cs"/>
        </a:defRPr>
      </a:lvl1pPr>
      <a:lvl2pPr marL="456344" algn="l" defTabSz="912689" rtl="0" eaLnBrk="1" latinLnBrk="0" hangingPunct="1">
        <a:defRPr sz="1800" kern="1200">
          <a:solidFill>
            <a:schemeClr val="tx1"/>
          </a:solidFill>
          <a:latin typeface="+mn-lt"/>
          <a:ea typeface="+mn-ea"/>
          <a:cs typeface="+mn-cs"/>
        </a:defRPr>
      </a:lvl2pPr>
      <a:lvl3pPr marL="912689" algn="l" defTabSz="912689" rtl="0" eaLnBrk="1" latinLnBrk="0" hangingPunct="1">
        <a:defRPr sz="1800" kern="1200">
          <a:solidFill>
            <a:schemeClr val="tx1"/>
          </a:solidFill>
          <a:latin typeface="+mn-lt"/>
          <a:ea typeface="+mn-ea"/>
          <a:cs typeface="+mn-cs"/>
        </a:defRPr>
      </a:lvl3pPr>
      <a:lvl4pPr marL="1369030" algn="l" defTabSz="912689" rtl="0" eaLnBrk="1" latinLnBrk="0" hangingPunct="1">
        <a:defRPr sz="1800" kern="1200">
          <a:solidFill>
            <a:schemeClr val="tx1"/>
          </a:solidFill>
          <a:latin typeface="+mn-lt"/>
          <a:ea typeface="+mn-ea"/>
          <a:cs typeface="+mn-cs"/>
        </a:defRPr>
      </a:lvl4pPr>
      <a:lvl5pPr marL="1825379" algn="l" defTabSz="912689" rtl="0" eaLnBrk="1" latinLnBrk="0" hangingPunct="1">
        <a:defRPr sz="1800" kern="1200">
          <a:solidFill>
            <a:schemeClr val="tx1"/>
          </a:solidFill>
          <a:latin typeface="+mn-lt"/>
          <a:ea typeface="+mn-ea"/>
          <a:cs typeface="+mn-cs"/>
        </a:defRPr>
      </a:lvl5pPr>
      <a:lvl6pPr marL="2281726" algn="l" defTabSz="912689" rtl="0" eaLnBrk="1" latinLnBrk="0" hangingPunct="1">
        <a:defRPr sz="1800" kern="1200">
          <a:solidFill>
            <a:schemeClr val="tx1"/>
          </a:solidFill>
          <a:latin typeface="+mn-lt"/>
          <a:ea typeface="+mn-ea"/>
          <a:cs typeface="+mn-cs"/>
        </a:defRPr>
      </a:lvl6pPr>
      <a:lvl7pPr marL="2738067" algn="l" defTabSz="912689" rtl="0" eaLnBrk="1" latinLnBrk="0" hangingPunct="1">
        <a:defRPr sz="1800" kern="1200">
          <a:solidFill>
            <a:schemeClr val="tx1"/>
          </a:solidFill>
          <a:latin typeface="+mn-lt"/>
          <a:ea typeface="+mn-ea"/>
          <a:cs typeface="+mn-cs"/>
        </a:defRPr>
      </a:lvl7pPr>
      <a:lvl8pPr marL="3194416" algn="l" defTabSz="912689" rtl="0" eaLnBrk="1" latinLnBrk="0" hangingPunct="1">
        <a:defRPr sz="1800" kern="1200">
          <a:solidFill>
            <a:schemeClr val="tx1"/>
          </a:solidFill>
          <a:latin typeface="+mn-lt"/>
          <a:ea typeface="+mn-ea"/>
          <a:cs typeface="+mn-cs"/>
        </a:defRPr>
      </a:lvl8pPr>
      <a:lvl9pPr marL="3650762" algn="l" defTabSz="9126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541472" y="-4763"/>
            <a:ext cx="7450137"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625" numCol="1" anchor="b"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57200" y="1250958"/>
            <a:ext cx="82296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28" name="Group 8"/>
          <p:cNvGrpSpPr>
            <a:grpSpLocks/>
          </p:cNvGrpSpPr>
          <p:nvPr/>
        </p:nvGrpSpPr>
        <p:grpSpPr bwMode="auto">
          <a:xfrm>
            <a:off x="101601" y="104775"/>
            <a:ext cx="668338" cy="685800"/>
            <a:chOff x="18142" y="955"/>
            <a:chExt cx="2084" cy="2140"/>
          </a:xfrm>
        </p:grpSpPr>
        <p:sp>
          <p:nvSpPr>
            <p:cNvPr id="1032" name="Rectangle 9"/>
            <p:cNvSpPr>
              <a:spLocks noChangeArrowheads="1"/>
            </p:cNvSpPr>
            <p:nvPr/>
          </p:nvSpPr>
          <p:spPr bwMode="auto">
            <a:xfrm>
              <a:off x="18142" y="955"/>
              <a:ext cx="1871"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1033" name="Freeform 10"/>
            <p:cNvSpPr>
              <a:spLocks/>
            </p:cNvSpPr>
            <p:nvPr/>
          </p:nvSpPr>
          <p:spPr bwMode="auto">
            <a:xfrm>
              <a:off x="19102" y="2392"/>
              <a:ext cx="396" cy="619"/>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4" name="Freeform 11"/>
            <p:cNvSpPr>
              <a:spLocks/>
            </p:cNvSpPr>
            <p:nvPr/>
          </p:nvSpPr>
          <p:spPr bwMode="auto">
            <a:xfrm>
              <a:off x="19221" y="2738"/>
              <a:ext cx="168" cy="173"/>
            </a:xfrm>
            <a:custGeom>
              <a:avLst/>
              <a:gdLst>
                <a:gd name="T0" fmla="*/ 1 w 336"/>
                <a:gd name="T1" fmla="*/ 1 h 343"/>
                <a:gd name="T2" fmla="*/ 1 w 336"/>
                <a:gd name="T3" fmla="*/ 1 h 343"/>
                <a:gd name="T4" fmla="*/ 1 w 336"/>
                <a:gd name="T5" fmla="*/ 1 h 343"/>
                <a:gd name="T6" fmla="*/ 1 w 336"/>
                <a:gd name="T7" fmla="*/ 1 h 343"/>
                <a:gd name="T8" fmla="*/ 1 w 336"/>
                <a:gd name="T9" fmla="*/ 1 h 343"/>
                <a:gd name="T10" fmla="*/ 1 w 336"/>
                <a:gd name="T11" fmla="*/ 1 h 343"/>
                <a:gd name="T12" fmla="*/ 1 w 336"/>
                <a:gd name="T13" fmla="*/ 1 h 343"/>
                <a:gd name="T14" fmla="*/ 1 w 336"/>
                <a:gd name="T15" fmla="*/ 0 h 343"/>
                <a:gd name="T16" fmla="*/ 1 w 336"/>
                <a:gd name="T17" fmla="*/ 0 h 343"/>
                <a:gd name="T18" fmla="*/ 1 w 336"/>
                <a:gd name="T19" fmla="*/ 1 h 343"/>
                <a:gd name="T20" fmla="*/ 1 w 336"/>
                <a:gd name="T21" fmla="*/ 1 h 343"/>
                <a:gd name="T22" fmla="*/ 0 w 336"/>
                <a:gd name="T23" fmla="*/ 1 h 343"/>
                <a:gd name="T24" fmla="*/ 1 w 336"/>
                <a:gd name="T25" fmla="*/ 1 h 343"/>
                <a:gd name="T26" fmla="*/ 1 w 336"/>
                <a:gd name="T27" fmla="*/ 1 h 343"/>
                <a:gd name="T28" fmla="*/ 1 w 336"/>
                <a:gd name="T29" fmla="*/ 1 h 343"/>
                <a:gd name="T30" fmla="*/ 1 w 336"/>
                <a:gd name="T31" fmla="*/ 1 h 343"/>
                <a:gd name="T32" fmla="*/ 1 w 336"/>
                <a:gd name="T33" fmla="*/ 1 h 343"/>
                <a:gd name="T34" fmla="*/ 1 w 336"/>
                <a:gd name="T35" fmla="*/ 1 h 343"/>
                <a:gd name="T36" fmla="*/ 1 w 336"/>
                <a:gd name="T37" fmla="*/ 1 h 343"/>
                <a:gd name="T38" fmla="*/ 1 w 336"/>
                <a:gd name="T39" fmla="*/ 1 h 343"/>
                <a:gd name="T40" fmla="*/ 1 w 336"/>
                <a:gd name="T41" fmla="*/ 1 h 343"/>
                <a:gd name="T42" fmla="*/ 1 w 336"/>
                <a:gd name="T43" fmla="*/ 1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5" name="Freeform 12"/>
            <p:cNvSpPr>
              <a:spLocks/>
            </p:cNvSpPr>
            <p:nvPr/>
          </p:nvSpPr>
          <p:spPr bwMode="auto">
            <a:xfrm>
              <a:off x="19538" y="1039"/>
              <a:ext cx="391" cy="1977"/>
            </a:xfrm>
            <a:custGeom>
              <a:avLst/>
              <a:gdLst>
                <a:gd name="T0" fmla="*/ 0 w 785"/>
                <a:gd name="T1" fmla="*/ 0 h 3959"/>
                <a:gd name="T2" fmla="*/ 0 w 785"/>
                <a:gd name="T3" fmla="*/ 0 h 3959"/>
                <a:gd name="T4" fmla="*/ 0 w 785"/>
                <a:gd name="T5" fmla="*/ 0 h 3959"/>
                <a:gd name="T6" fmla="*/ 0 w 785"/>
                <a:gd name="T7" fmla="*/ 0 h 3959"/>
                <a:gd name="T8" fmla="*/ 0 w 785"/>
                <a:gd name="T9" fmla="*/ 0 h 3959"/>
                <a:gd name="T10" fmla="*/ 0 w 785"/>
                <a:gd name="T11" fmla="*/ 0 h 3959"/>
                <a:gd name="T12" fmla="*/ 0 w 785"/>
                <a:gd name="T13" fmla="*/ 0 h 3959"/>
                <a:gd name="T14" fmla="*/ 0 w 785"/>
                <a:gd name="T15" fmla="*/ 0 h 3959"/>
                <a:gd name="T16" fmla="*/ 0 w 785"/>
                <a:gd name="T17" fmla="*/ 0 h 3959"/>
                <a:gd name="T18" fmla="*/ 0 w 785"/>
                <a:gd name="T19" fmla="*/ 0 h 3959"/>
                <a:gd name="T20" fmla="*/ 0 w 785"/>
                <a:gd name="T21" fmla="*/ 0 h 3959"/>
                <a:gd name="T22" fmla="*/ 0 w 785"/>
                <a:gd name="T23" fmla="*/ 0 h 3959"/>
                <a:gd name="T24" fmla="*/ 0 w 785"/>
                <a:gd name="T25" fmla="*/ 0 h 3959"/>
                <a:gd name="T26" fmla="*/ 0 w 785"/>
                <a:gd name="T27" fmla="*/ 0 h 3959"/>
                <a:gd name="T28" fmla="*/ 0 w 785"/>
                <a:gd name="T29" fmla="*/ 0 h 3959"/>
                <a:gd name="T30" fmla="*/ 0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6" name="Freeform 13"/>
            <p:cNvSpPr>
              <a:spLocks/>
            </p:cNvSpPr>
            <p:nvPr/>
          </p:nvSpPr>
          <p:spPr bwMode="auto">
            <a:xfrm>
              <a:off x="18424" y="2397"/>
              <a:ext cx="74" cy="218"/>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0 w 152"/>
                <a:gd name="T17" fmla="*/ 1 h 435"/>
                <a:gd name="T18" fmla="*/ 0 w 152"/>
                <a:gd name="T19" fmla="*/ 1 h 435"/>
                <a:gd name="T20" fmla="*/ 0 w 152"/>
                <a:gd name="T21" fmla="*/ 1 h 435"/>
                <a:gd name="T22" fmla="*/ 0 w 152"/>
                <a:gd name="T23" fmla="*/ 1 h 435"/>
                <a:gd name="T24" fmla="*/ 0 w 152"/>
                <a:gd name="T25" fmla="*/ 1 h 435"/>
                <a:gd name="T26" fmla="*/ 0 w 152"/>
                <a:gd name="T27" fmla="*/ 1 h 435"/>
                <a:gd name="T28" fmla="*/ 0 w 152"/>
                <a:gd name="T29" fmla="*/ 1 h 435"/>
                <a:gd name="T30" fmla="*/ 0 w 152"/>
                <a:gd name="T31" fmla="*/ 1 h 435"/>
                <a:gd name="T32" fmla="*/ 0 w 152"/>
                <a:gd name="T33" fmla="*/ 1 h 435"/>
                <a:gd name="T34" fmla="*/ 0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7" name="Freeform 14"/>
            <p:cNvSpPr>
              <a:spLocks/>
            </p:cNvSpPr>
            <p:nvPr/>
          </p:nvSpPr>
          <p:spPr bwMode="auto">
            <a:xfrm>
              <a:off x="18221" y="1039"/>
              <a:ext cx="1307" cy="1977"/>
            </a:xfrm>
            <a:custGeom>
              <a:avLst/>
              <a:gdLst>
                <a:gd name="T0" fmla="*/ 0 w 2616"/>
                <a:gd name="T1" fmla="*/ 0 h 3962"/>
                <a:gd name="T2" fmla="*/ 0 w 2616"/>
                <a:gd name="T3" fmla="*/ 0 h 3962"/>
                <a:gd name="T4" fmla="*/ 0 w 2616"/>
                <a:gd name="T5" fmla="*/ 0 h 3962"/>
                <a:gd name="T6" fmla="*/ 0 w 2616"/>
                <a:gd name="T7" fmla="*/ 0 h 3962"/>
                <a:gd name="T8" fmla="*/ 0 w 2616"/>
                <a:gd name="T9" fmla="*/ 0 h 3962"/>
                <a:gd name="T10" fmla="*/ 0 w 2616"/>
                <a:gd name="T11" fmla="*/ 0 h 3962"/>
                <a:gd name="T12" fmla="*/ 0 w 2616"/>
                <a:gd name="T13" fmla="*/ 0 h 3962"/>
                <a:gd name="T14" fmla="*/ 0 w 2616"/>
                <a:gd name="T15" fmla="*/ 0 h 3962"/>
                <a:gd name="T16" fmla="*/ 0 w 2616"/>
                <a:gd name="T17" fmla="*/ 0 h 3962"/>
                <a:gd name="T18" fmla="*/ 0 w 2616"/>
                <a:gd name="T19" fmla="*/ 0 h 3962"/>
                <a:gd name="T20" fmla="*/ 0 w 2616"/>
                <a:gd name="T21" fmla="*/ 0 h 3962"/>
                <a:gd name="T22" fmla="*/ 0 w 2616"/>
                <a:gd name="T23" fmla="*/ 0 h 3962"/>
                <a:gd name="T24" fmla="*/ 0 w 2616"/>
                <a:gd name="T25" fmla="*/ 0 h 3962"/>
                <a:gd name="T26" fmla="*/ 0 w 2616"/>
                <a:gd name="T27" fmla="*/ 0 h 3962"/>
                <a:gd name="T28" fmla="*/ 0 w 2616"/>
                <a:gd name="T29" fmla="*/ 0 h 3962"/>
                <a:gd name="T30" fmla="*/ 0 w 2616"/>
                <a:gd name="T31" fmla="*/ 0 h 3962"/>
                <a:gd name="T32" fmla="*/ 0 w 2616"/>
                <a:gd name="T33" fmla="*/ 0 h 3962"/>
                <a:gd name="T34" fmla="*/ 0 w 2616"/>
                <a:gd name="T35" fmla="*/ 0 h 3962"/>
                <a:gd name="T36" fmla="*/ 0 w 2616"/>
                <a:gd name="T37" fmla="*/ 0 h 3962"/>
                <a:gd name="T38" fmla="*/ 0 w 2616"/>
                <a:gd name="T39" fmla="*/ 0 h 3962"/>
                <a:gd name="T40" fmla="*/ 0 w 2616"/>
                <a:gd name="T41" fmla="*/ 0 h 3962"/>
                <a:gd name="T42" fmla="*/ 0 w 2616"/>
                <a:gd name="T43" fmla="*/ 0 h 3962"/>
                <a:gd name="T44" fmla="*/ 0 w 2616"/>
                <a:gd name="T45" fmla="*/ 0 h 3962"/>
                <a:gd name="T46" fmla="*/ 0 w 2616"/>
                <a:gd name="T47" fmla="*/ 0 h 3962"/>
                <a:gd name="T48" fmla="*/ 0 w 2616"/>
                <a:gd name="T49" fmla="*/ 0 h 3962"/>
                <a:gd name="T50" fmla="*/ 0 w 2616"/>
                <a:gd name="T51" fmla="*/ 0 h 3962"/>
                <a:gd name="T52" fmla="*/ 0 w 2616"/>
                <a:gd name="T53" fmla="*/ 0 h 3962"/>
                <a:gd name="T54" fmla="*/ 0 w 2616"/>
                <a:gd name="T55" fmla="*/ 0 h 3962"/>
                <a:gd name="T56" fmla="*/ 0 w 2616"/>
                <a:gd name="T57" fmla="*/ 0 h 3962"/>
                <a:gd name="T58" fmla="*/ 0 w 2616"/>
                <a:gd name="T59" fmla="*/ 0 h 3962"/>
                <a:gd name="T60" fmla="*/ 0 w 2616"/>
                <a:gd name="T61" fmla="*/ 0 h 3962"/>
                <a:gd name="T62" fmla="*/ 0 w 2616"/>
                <a:gd name="T63" fmla="*/ 0 h 3962"/>
                <a:gd name="T64" fmla="*/ 0 w 2616"/>
                <a:gd name="T65" fmla="*/ 0 h 3962"/>
                <a:gd name="T66" fmla="*/ 0 w 2616"/>
                <a:gd name="T67" fmla="*/ 0 h 3962"/>
                <a:gd name="T68" fmla="*/ 0 w 2616"/>
                <a:gd name="T69" fmla="*/ 0 h 3962"/>
                <a:gd name="T70" fmla="*/ 0 w 2616"/>
                <a:gd name="T71" fmla="*/ 0 h 3962"/>
                <a:gd name="T72" fmla="*/ 0 w 2616"/>
                <a:gd name="T73" fmla="*/ 0 h 3962"/>
                <a:gd name="T74" fmla="*/ 0 w 2616"/>
                <a:gd name="T75" fmla="*/ 0 h 3962"/>
                <a:gd name="T76" fmla="*/ 0 w 2616"/>
                <a:gd name="T77" fmla="*/ 0 h 3962"/>
                <a:gd name="T78" fmla="*/ 0 w 2616"/>
                <a:gd name="T79" fmla="*/ 0 h 3962"/>
                <a:gd name="T80" fmla="*/ 0 w 2616"/>
                <a:gd name="T81" fmla="*/ 0 h 3962"/>
                <a:gd name="T82" fmla="*/ 0 w 2616"/>
                <a:gd name="T83" fmla="*/ 0 h 3962"/>
                <a:gd name="T84" fmla="*/ 0 w 2616"/>
                <a:gd name="T85" fmla="*/ 0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8" name="Freeform 15"/>
            <p:cNvSpPr>
              <a:spLocks noEditPoints="1"/>
            </p:cNvSpPr>
            <p:nvPr/>
          </p:nvSpPr>
          <p:spPr bwMode="auto">
            <a:xfrm>
              <a:off x="19993" y="1044"/>
              <a:ext cx="233" cy="233"/>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grpSp>
      <p:sp>
        <p:nvSpPr>
          <p:cNvPr id="1029" name="Line 2"/>
          <p:cNvSpPr>
            <a:spLocks noChangeShapeType="1"/>
          </p:cNvSpPr>
          <p:nvPr/>
        </p:nvSpPr>
        <p:spPr bwMode="auto">
          <a:xfrm>
            <a:off x="8" y="881063"/>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ndParaRPr>
          </a:p>
        </p:txBody>
      </p:sp>
      <p:sp>
        <p:nvSpPr>
          <p:cNvPr id="32" name="TextBox 31"/>
          <p:cNvSpPr txBox="1"/>
          <p:nvPr/>
        </p:nvSpPr>
        <p:spPr>
          <a:xfrm>
            <a:off x="8540750" y="658814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264841989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Lst>
  <p:hf sldNum="0" hdr="0" ftr="0" dt="0"/>
  <p:txStyles>
    <p:titleStyle>
      <a:lvl1pPr algn="r" rtl="0" eaLnBrk="0" fontAlgn="base" hangingPunct="0">
        <a:spcBef>
          <a:spcPct val="0"/>
        </a:spcBef>
        <a:spcAft>
          <a:spcPct val="0"/>
        </a:spcAft>
        <a:defRPr sz="2400" b="1">
          <a:solidFill>
            <a:schemeClr val="accent1">
              <a:lumMod val="75000"/>
            </a:schemeClr>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6344"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2689"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69030"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5379" algn="l" rtl="0" eaLnBrk="1" fontAlgn="base" hangingPunct="1">
        <a:spcBef>
          <a:spcPct val="0"/>
        </a:spcBef>
        <a:spcAft>
          <a:spcPct val="0"/>
        </a:spcAft>
        <a:defRPr sz="2400" b="1">
          <a:solidFill>
            <a:srgbClr val="5B7893"/>
          </a:solidFill>
          <a:latin typeface="Arial" charset="0"/>
          <a:ea typeface="ＭＳ Ｐゴシック" pitchFamily="1" charset="-128"/>
        </a:defRPr>
      </a:lvl9pPr>
    </p:titleStyle>
    <p:bodyStyle>
      <a:lvl1pPr marL="342259" indent="-342259" algn="l" rtl="0" eaLnBrk="0" fontAlgn="base" hangingPunct="0">
        <a:spcBef>
          <a:spcPct val="25000"/>
        </a:spcBef>
        <a:spcAft>
          <a:spcPct val="20000"/>
        </a:spcAft>
        <a:defRPr b="1">
          <a:solidFill>
            <a:srgbClr val="333333"/>
          </a:solidFill>
          <a:latin typeface="+mn-lt"/>
          <a:ea typeface="+mn-ea"/>
          <a:cs typeface="+mn-cs"/>
        </a:defRPr>
      </a:lvl1pPr>
      <a:lvl2pPr marL="285215" indent="-171129" algn="l" rtl="0" eaLnBrk="0" fontAlgn="base" hangingPunct="0">
        <a:spcBef>
          <a:spcPct val="25000"/>
        </a:spcBef>
        <a:spcAft>
          <a:spcPct val="20000"/>
        </a:spcAft>
        <a:buClr>
          <a:srgbClr val="006699"/>
        </a:buClr>
        <a:buSzPct val="100000"/>
        <a:buFont typeface="Arial" charset="0"/>
        <a:buChar char="•"/>
        <a:defRPr sz="1600">
          <a:solidFill>
            <a:srgbClr val="333333"/>
          </a:solidFill>
          <a:latin typeface="+mn-lt"/>
          <a:ea typeface="+mn-ea"/>
        </a:defRPr>
      </a:lvl2pPr>
      <a:lvl3pPr marL="573599" indent="-174295" algn="l" rtl="0" eaLnBrk="0" fontAlgn="base" hangingPunct="0">
        <a:spcBef>
          <a:spcPct val="25000"/>
        </a:spcBef>
        <a:spcAft>
          <a:spcPct val="20000"/>
        </a:spcAft>
        <a:buClr>
          <a:srgbClr val="006699"/>
        </a:buClr>
        <a:buFont typeface="Symbol" pitchFamily="18" charset="2"/>
        <a:buChar char=""/>
        <a:defRPr sz="1400">
          <a:solidFill>
            <a:srgbClr val="333333"/>
          </a:solidFill>
          <a:latin typeface="+mn-lt"/>
          <a:ea typeface="+mn-ea"/>
        </a:defRPr>
      </a:lvl3pPr>
      <a:lvl4pPr marL="854066" indent="-166376" algn="l" rtl="0" eaLnBrk="0" fontAlgn="base" hangingPunct="0">
        <a:spcBef>
          <a:spcPct val="25000"/>
        </a:spcBef>
        <a:spcAft>
          <a:spcPct val="20000"/>
        </a:spcAft>
        <a:buClr>
          <a:srgbClr val="006699"/>
        </a:buClr>
        <a:buSzPct val="100000"/>
        <a:buFont typeface="Arial" charset="0"/>
        <a:buChar char="•"/>
        <a:defRPr sz="1200">
          <a:solidFill>
            <a:srgbClr val="333333"/>
          </a:solidFill>
          <a:latin typeface="+mn-lt"/>
          <a:ea typeface="+mn-ea"/>
        </a:defRPr>
      </a:lvl4pPr>
      <a:lvl5pPr marL="1140861" indent="-172712" algn="l" rtl="0" eaLnBrk="0" fontAlgn="base" hangingPunct="0">
        <a:spcBef>
          <a:spcPct val="25000"/>
        </a:spcBef>
        <a:spcAft>
          <a:spcPct val="20000"/>
        </a:spcAft>
        <a:buClr>
          <a:srgbClr val="006699"/>
        </a:buClr>
        <a:buFont typeface="Symbol" pitchFamily="18" charset="2"/>
        <a:buChar char=""/>
        <a:defRPr sz="1000">
          <a:solidFill>
            <a:srgbClr val="333333"/>
          </a:solidFill>
          <a:latin typeface="+mn-lt"/>
          <a:ea typeface="+mn-ea"/>
        </a:defRPr>
      </a:lvl5pPr>
      <a:lvl6pPr marL="1597210"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6pPr>
      <a:lvl7pPr marL="2053552"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7pPr>
      <a:lvl8pPr marL="2509899"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8pPr>
      <a:lvl9pPr marL="2966246"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9pPr>
    </p:bodyStyle>
    <p:otherStyle>
      <a:defPPr>
        <a:defRPr lang="en-US"/>
      </a:defPPr>
      <a:lvl1pPr marL="0" algn="l" defTabSz="912689" rtl="0" eaLnBrk="1" latinLnBrk="0" hangingPunct="1">
        <a:defRPr sz="1800" kern="1200">
          <a:solidFill>
            <a:schemeClr val="tx1"/>
          </a:solidFill>
          <a:latin typeface="+mn-lt"/>
          <a:ea typeface="+mn-ea"/>
          <a:cs typeface="+mn-cs"/>
        </a:defRPr>
      </a:lvl1pPr>
      <a:lvl2pPr marL="456344" algn="l" defTabSz="912689" rtl="0" eaLnBrk="1" latinLnBrk="0" hangingPunct="1">
        <a:defRPr sz="1800" kern="1200">
          <a:solidFill>
            <a:schemeClr val="tx1"/>
          </a:solidFill>
          <a:latin typeface="+mn-lt"/>
          <a:ea typeface="+mn-ea"/>
          <a:cs typeface="+mn-cs"/>
        </a:defRPr>
      </a:lvl2pPr>
      <a:lvl3pPr marL="912689" algn="l" defTabSz="912689" rtl="0" eaLnBrk="1" latinLnBrk="0" hangingPunct="1">
        <a:defRPr sz="1800" kern="1200">
          <a:solidFill>
            <a:schemeClr val="tx1"/>
          </a:solidFill>
          <a:latin typeface="+mn-lt"/>
          <a:ea typeface="+mn-ea"/>
          <a:cs typeface="+mn-cs"/>
        </a:defRPr>
      </a:lvl3pPr>
      <a:lvl4pPr marL="1369030" algn="l" defTabSz="912689" rtl="0" eaLnBrk="1" latinLnBrk="0" hangingPunct="1">
        <a:defRPr sz="1800" kern="1200">
          <a:solidFill>
            <a:schemeClr val="tx1"/>
          </a:solidFill>
          <a:latin typeface="+mn-lt"/>
          <a:ea typeface="+mn-ea"/>
          <a:cs typeface="+mn-cs"/>
        </a:defRPr>
      </a:lvl4pPr>
      <a:lvl5pPr marL="1825379" algn="l" defTabSz="912689" rtl="0" eaLnBrk="1" latinLnBrk="0" hangingPunct="1">
        <a:defRPr sz="1800" kern="1200">
          <a:solidFill>
            <a:schemeClr val="tx1"/>
          </a:solidFill>
          <a:latin typeface="+mn-lt"/>
          <a:ea typeface="+mn-ea"/>
          <a:cs typeface="+mn-cs"/>
        </a:defRPr>
      </a:lvl5pPr>
      <a:lvl6pPr marL="2281726" algn="l" defTabSz="912689" rtl="0" eaLnBrk="1" latinLnBrk="0" hangingPunct="1">
        <a:defRPr sz="1800" kern="1200">
          <a:solidFill>
            <a:schemeClr val="tx1"/>
          </a:solidFill>
          <a:latin typeface="+mn-lt"/>
          <a:ea typeface="+mn-ea"/>
          <a:cs typeface="+mn-cs"/>
        </a:defRPr>
      </a:lvl6pPr>
      <a:lvl7pPr marL="2738067" algn="l" defTabSz="912689" rtl="0" eaLnBrk="1" latinLnBrk="0" hangingPunct="1">
        <a:defRPr sz="1800" kern="1200">
          <a:solidFill>
            <a:schemeClr val="tx1"/>
          </a:solidFill>
          <a:latin typeface="+mn-lt"/>
          <a:ea typeface="+mn-ea"/>
          <a:cs typeface="+mn-cs"/>
        </a:defRPr>
      </a:lvl7pPr>
      <a:lvl8pPr marL="3194416" algn="l" defTabSz="912689" rtl="0" eaLnBrk="1" latinLnBrk="0" hangingPunct="1">
        <a:defRPr sz="1800" kern="1200">
          <a:solidFill>
            <a:schemeClr val="tx1"/>
          </a:solidFill>
          <a:latin typeface="+mn-lt"/>
          <a:ea typeface="+mn-ea"/>
          <a:cs typeface="+mn-cs"/>
        </a:defRPr>
      </a:lvl8pPr>
      <a:lvl9pPr marL="3650762" algn="l" defTabSz="9126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541472" y="-4763"/>
            <a:ext cx="7450137"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625" numCol="1" anchor="b"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57200" y="1250958"/>
            <a:ext cx="82296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28" name="Group 8"/>
          <p:cNvGrpSpPr>
            <a:grpSpLocks/>
          </p:cNvGrpSpPr>
          <p:nvPr/>
        </p:nvGrpSpPr>
        <p:grpSpPr bwMode="auto">
          <a:xfrm>
            <a:off x="101601" y="104775"/>
            <a:ext cx="668338" cy="685800"/>
            <a:chOff x="18142" y="955"/>
            <a:chExt cx="2084" cy="2140"/>
          </a:xfrm>
        </p:grpSpPr>
        <p:sp>
          <p:nvSpPr>
            <p:cNvPr id="1032" name="Rectangle 9"/>
            <p:cNvSpPr>
              <a:spLocks noChangeArrowheads="1"/>
            </p:cNvSpPr>
            <p:nvPr/>
          </p:nvSpPr>
          <p:spPr bwMode="auto">
            <a:xfrm>
              <a:off x="18142" y="955"/>
              <a:ext cx="1871"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1033" name="Freeform 10"/>
            <p:cNvSpPr>
              <a:spLocks/>
            </p:cNvSpPr>
            <p:nvPr/>
          </p:nvSpPr>
          <p:spPr bwMode="auto">
            <a:xfrm>
              <a:off x="19102" y="2392"/>
              <a:ext cx="396" cy="619"/>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4" name="Freeform 11"/>
            <p:cNvSpPr>
              <a:spLocks/>
            </p:cNvSpPr>
            <p:nvPr/>
          </p:nvSpPr>
          <p:spPr bwMode="auto">
            <a:xfrm>
              <a:off x="19221" y="2738"/>
              <a:ext cx="168" cy="173"/>
            </a:xfrm>
            <a:custGeom>
              <a:avLst/>
              <a:gdLst>
                <a:gd name="T0" fmla="*/ 1 w 336"/>
                <a:gd name="T1" fmla="*/ 1 h 343"/>
                <a:gd name="T2" fmla="*/ 1 w 336"/>
                <a:gd name="T3" fmla="*/ 1 h 343"/>
                <a:gd name="T4" fmla="*/ 1 w 336"/>
                <a:gd name="T5" fmla="*/ 1 h 343"/>
                <a:gd name="T6" fmla="*/ 1 w 336"/>
                <a:gd name="T7" fmla="*/ 1 h 343"/>
                <a:gd name="T8" fmla="*/ 1 w 336"/>
                <a:gd name="T9" fmla="*/ 1 h 343"/>
                <a:gd name="T10" fmla="*/ 1 w 336"/>
                <a:gd name="T11" fmla="*/ 1 h 343"/>
                <a:gd name="T12" fmla="*/ 1 w 336"/>
                <a:gd name="T13" fmla="*/ 1 h 343"/>
                <a:gd name="T14" fmla="*/ 1 w 336"/>
                <a:gd name="T15" fmla="*/ 0 h 343"/>
                <a:gd name="T16" fmla="*/ 1 w 336"/>
                <a:gd name="T17" fmla="*/ 0 h 343"/>
                <a:gd name="T18" fmla="*/ 1 w 336"/>
                <a:gd name="T19" fmla="*/ 1 h 343"/>
                <a:gd name="T20" fmla="*/ 1 w 336"/>
                <a:gd name="T21" fmla="*/ 1 h 343"/>
                <a:gd name="T22" fmla="*/ 0 w 336"/>
                <a:gd name="T23" fmla="*/ 1 h 343"/>
                <a:gd name="T24" fmla="*/ 1 w 336"/>
                <a:gd name="T25" fmla="*/ 1 h 343"/>
                <a:gd name="T26" fmla="*/ 1 w 336"/>
                <a:gd name="T27" fmla="*/ 1 h 343"/>
                <a:gd name="T28" fmla="*/ 1 w 336"/>
                <a:gd name="T29" fmla="*/ 1 h 343"/>
                <a:gd name="T30" fmla="*/ 1 w 336"/>
                <a:gd name="T31" fmla="*/ 1 h 343"/>
                <a:gd name="T32" fmla="*/ 1 w 336"/>
                <a:gd name="T33" fmla="*/ 1 h 343"/>
                <a:gd name="T34" fmla="*/ 1 w 336"/>
                <a:gd name="T35" fmla="*/ 1 h 343"/>
                <a:gd name="T36" fmla="*/ 1 w 336"/>
                <a:gd name="T37" fmla="*/ 1 h 343"/>
                <a:gd name="T38" fmla="*/ 1 w 336"/>
                <a:gd name="T39" fmla="*/ 1 h 343"/>
                <a:gd name="T40" fmla="*/ 1 w 336"/>
                <a:gd name="T41" fmla="*/ 1 h 343"/>
                <a:gd name="T42" fmla="*/ 1 w 336"/>
                <a:gd name="T43" fmla="*/ 1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5" name="Freeform 12"/>
            <p:cNvSpPr>
              <a:spLocks/>
            </p:cNvSpPr>
            <p:nvPr/>
          </p:nvSpPr>
          <p:spPr bwMode="auto">
            <a:xfrm>
              <a:off x="19538" y="1039"/>
              <a:ext cx="391" cy="1977"/>
            </a:xfrm>
            <a:custGeom>
              <a:avLst/>
              <a:gdLst>
                <a:gd name="T0" fmla="*/ 0 w 785"/>
                <a:gd name="T1" fmla="*/ 0 h 3959"/>
                <a:gd name="T2" fmla="*/ 0 w 785"/>
                <a:gd name="T3" fmla="*/ 0 h 3959"/>
                <a:gd name="T4" fmla="*/ 0 w 785"/>
                <a:gd name="T5" fmla="*/ 0 h 3959"/>
                <a:gd name="T6" fmla="*/ 0 w 785"/>
                <a:gd name="T7" fmla="*/ 0 h 3959"/>
                <a:gd name="T8" fmla="*/ 0 w 785"/>
                <a:gd name="T9" fmla="*/ 0 h 3959"/>
                <a:gd name="T10" fmla="*/ 0 w 785"/>
                <a:gd name="T11" fmla="*/ 0 h 3959"/>
                <a:gd name="T12" fmla="*/ 0 w 785"/>
                <a:gd name="T13" fmla="*/ 0 h 3959"/>
                <a:gd name="T14" fmla="*/ 0 w 785"/>
                <a:gd name="T15" fmla="*/ 0 h 3959"/>
                <a:gd name="T16" fmla="*/ 0 w 785"/>
                <a:gd name="T17" fmla="*/ 0 h 3959"/>
                <a:gd name="T18" fmla="*/ 0 w 785"/>
                <a:gd name="T19" fmla="*/ 0 h 3959"/>
                <a:gd name="T20" fmla="*/ 0 w 785"/>
                <a:gd name="T21" fmla="*/ 0 h 3959"/>
                <a:gd name="T22" fmla="*/ 0 w 785"/>
                <a:gd name="T23" fmla="*/ 0 h 3959"/>
                <a:gd name="T24" fmla="*/ 0 w 785"/>
                <a:gd name="T25" fmla="*/ 0 h 3959"/>
                <a:gd name="T26" fmla="*/ 0 w 785"/>
                <a:gd name="T27" fmla="*/ 0 h 3959"/>
                <a:gd name="T28" fmla="*/ 0 w 785"/>
                <a:gd name="T29" fmla="*/ 0 h 3959"/>
                <a:gd name="T30" fmla="*/ 0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6" name="Freeform 13"/>
            <p:cNvSpPr>
              <a:spLocks/>
            </p:cNvSpPr>
            <p:nvPr/>
          </p:nvSpPr>
          <p:spPr bwMode="auto">
            <a:xfrm>
              <a:off x="18424" y="2397"/>
              <a:ext cx="74" cy="218"/>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0 w 152"/>
                <a:gd name="T17" fmla="*/ 1 h 435"/>
                <a:gd name="T18" fmla="*/ 0 w 152"/>
                <a:gd name="T19" fmla="*/ 1 h 435"/>
                <a:gd name="T20" fmla="*/ 0 w 152"/>
                <a:gd name="T21" fmla="*/ 1 h 435"/>
                <a:gd name="T22" fmla="*/ 0 w 152"/>
                <a:gd name="T23" fmla="*/ 1 h 435"/>
                <a:gd name="T24" fmla="*/ 0 w 152"/>
                <a:gd name="T25" fmla="*/ 1 h 435"/>
                <a:gd name="T26" fmla="*/ 0 w 152"/>
                <a:gd name="T27" fmla="*/ 1 h 435"/>
                <a:gd name="T28" fmla="*/ 0 w 152"/>
                <a:gd name="T29" fmla="*/ 1 h 435"/>
                <a:gd name="T30" fmla="*/ 0 w 152"/>
                <a:gd name="T31" fmla="*/ 1 h 435"/>
                <a:gd name="T32" fmla="*/ 0 w 152"/>
                <a:gd name="T33" fmla="*/ 1 h 435"/>
                <a:gd name="T34" fmla="*/ 0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7" name="Freeform 14"/>
            <p:cNvSpPr>
              <a:spLocks/>
            </p:cNvSpPr>
            <p:nvPr/>
          </p:nvSpPr>
          <p:spPr bwMode="auto">
            <a:xfrm>
              <a:off x="18221" y="1039"/>
              <a:ext cx="1307" cy="1977"/>
            </a:xfrm>
            <a:custGeom>
              <a:avLst/>
              <a:gdLst>
                <a:gd name="T0" fmla="*/ 0 w 2616"/>
                <a:gd name="T1" fmla="*/ 0 h 3962"/>
                <a:gd name="T2" fmla="*/ 0 w 2616"/>
                <a:gd name="T3" fmla="*/ 0 h 3962"/>
                <a:gd name="T4" fmla="*/ 0 w 2616"/>
                <a:gd name="T5" fmla="*/ 0 h 3962"/>
                <a:gd name="T6" fmla="*/ 0 w 2616"/>
                <a:gd name="T7" fmla="*/ 0 h 3962"/>
                <a:gd name="T8" fmla="*/ 0 w 2616"/>
                <a:gd name="T9" fmla="*/ 0 h 3962"/>
                <a:gd name="T10" fmla="*/ 0 w 2616"/>
                <a:gd name="T11" fmla="*/ 0 h 3962"/>
                <a:gd name="T12" fmla="*/ 0 w 2616"/>
                <a:gd name="T13" fmla="*/ 0 h 3962"/>
                <a:gd name="T14" fmla="*/ 0 w 2616"/>
                <a:gd name="T15" fmla="*/ 0 h 3962"/>
                <a:gd name="T16" fmla="*/ 0 w 2616"/>
                <a:gd name="T17" fmla="*/ 0 h 3962"/>
                <a:gd name="T18" fmla="*/ 0 w 2616"/>
                <a:gd name="T19" fmla="*/ 0 h 3962"/>
                <a:gd name="T20" fmla="*/ 0 w 2616"/>
                <a:gd name="T21" fmla="*/ 0 h 3962"/>
                <a:gd name="T22" fmla="*/ 0 w 2616"/>
                <a:gd name="T23" fmla="*/ 0 h 3962"/>
                <a:gd name="T24" fmla="*/ 0 w 2616"/>
                <a:gd name="T25" fmla="*/ 0 h 3962"/>
                <a:gd name="T26" fmla="*/ 0 w 2616"/>
                <a:gd name="T27" fmla="*/ 0 h 3962"/>
                <a:gd name="T28" fmla="*/ 0 w 2616"/>
                <a:gd name="T29" fmla="*/ 0 h 3962"/>
                <a:gd name="T30" fmla="*/ 0 w 2616"/>
                <a:gd name="T31" fmla="*/ 0 h 3962"/>
                <a:gd name="T32" fmla="*/ 0 w 2616"/>
                <a:gd name="T33" fmla="*/ 0 h 3962"/>
                <a:gd name="T34" fmla="*/ 0 w 2616"/>
                <a:gd name="T35" fmla="*/ 0 h 3962"/>
                <a:gd name="T36" fmla="*/ 0 w 2616"/>
                <a:gd name="T37" fmla="*/ 0 h 3962"/>
                <a:gd name="T38" fmla="*/ 0 w 2616"/>
                <a:gd name="T39" fmla="*/ 0 h 3962"/>
                <a:gd name="T40" fmla="*/ 0 w 2616"/>
                <a:gd name="T41" fmla="*/ 0 h 3962"/>
                <a:gd name="T42" fmla="*/ 0 w 2616"/>
                <a:gd name="T43" fmla="*/ 0 h 3962"/>
                <a:gd name="T44" fmla="*/ 0 w 2616"/>
                <a:gd name="T45" fmla="*/ 0 h 3962"/>
                <a:gd name="T46" fmla="*/ 0 w 2616"/>
                <a:gd name="T47" fmla="*/ 0 h 3962"/>
                <a:gd name="T48" fmla="*/ 0 w 2616"/>
                <a:gd name="T49" fmla="*/ 0 h 3962"/>
                <a:gd name="T50" fmla="*/ 0 w 2616"/>
                <a:gd name="T51" fmla="*/ 0 h 3962"/>
                <a:gd name="T52" fmla="*/ 0 w 2616"/>
                <a:gd name="T53" fmla="*/ 0 h 3962"/>
                <a:gd name="T54" fmla="*/ 0 w 2616"/>
                <a:gd name="T55" fmla="*/ 0 h 3962"/>
                <a:gd name="T56" fmla="*/ 0 w 2616"/>
                <a:gd name="T57" fmla="*/ 0 h 3962"/>
                <a:gd name="T58" fmla="*/ 0 w 2616"/>
                <a:gd name="T59" fmla="*/ 0 h 3962"/>
                <a:gd name="T60" fmla="*/ 0 w 2616"/>
                <a:gd name="T61" fmla="*/ 0 h 3962"/>
                <a:gd name="T62" fmla="*/ 0 w 2616"/>
                <a:gd name="T63" fmla="*/ 0 h 3962"/>
                <a:gd name="T64" fmla="*/ 0 w 2616"/>
                <a:gd name="T65" fmla="*/ 0 h 3962"/>
                <a:gd name="T66" fmla="*/ 0 w 2616"/>
                <a:gd name="T67" fmla="*/ 0 h 3962"/>
                <a:gd name="T68" fmla="*/ 0 w 2616"/>
                <a:gd name="T69" fmla="*/ 0 h 3962"/>
                <a:gd name="T70" fmla="*/ 0 w 2616"/>
                <a:gd name="T71" fmla="*/ 0 h 3962"/>
                <a:gd name="T72" fmla="*/ 0 w 2616"/>
                <a:gd name="T73" fmla="*/ 0 h 3962"/>
                <a:gd name="T74" fmla="*/ 0 w 2616"/>
                <a:gd name="T75" fmla="*/ 0 h 3962"/>
                <a:gd name="T76" fmla="*/ 0 w 2616"/>
                <a:gd name="T77" fmla="*/ 0 h 3962"/>
                <a:gd name="T78" fmla="*/ 0 w 2616"/>
                <a:gd name="T79" fmla="*/ 0 h 3962"/>
                <a:gd name="T80" fmla="*/ 0 w 2616"/>
                <a:gd name="T81" fmla="*/ 0 h 3962"/>
                <a:gd name="T82" fmla="*/ 0 w 2616"/>
                <a:gd name="T83" fmla="*/ 0 h 3962"/>
                <a:gd name="T84" fmla="*/ 0 w 2616"/>
                <a:gd name="T85" fmla="*/ 0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8" name="Freeform 15"/>
            <p:cNvSpPr>
              <a:spLocks noEditPoints="1"/>
            </p:cNvSpPr>
            <p:nvPr/>
          </p:nvSpPr>
          <p:spPr bwMode="auto">
            <a:xfrm>
              <a:off x="19993" y="1044"/>
              <a:ext cx="233" cy="233"/>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grpSp>
      <p:sp>
        <p:nvSpPr>
          <p:cNvPr id="1029" name="Line 2"/>
          <p:cNvSpPr>
            <a:spLocks noChangeShapeType="1"/>
          </p:cNvSpPr>
          <p:nvPr/>
        </p:nvSpPr>
        <p:spPr bwMode="auto">
          <a:xfrm>
            <a:off x="8" y="881063"/>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3" name="TextBox 12"/>
          <p:cNvSpPr txBox="1"/>
          <p:nvPr/>
        </p:nvSpPr>
        <p:spPr>
          <a:xfrm>
            <a:off x="853122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191074181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hf sldNum="0" hdr="0" ftr="0" dt="0"/>
  <p:txStyles>
    <p:titleStyle>
      <a:lvl1pPr algn="r" rtl="0" eaLnBrk="0" fontAlgn="base" hangingPunct="0">
        <a:spcBef>
          <a:spcPct val="0"/>
        </a:spcBef>
        <a:spcAft>
          <a:spcPct val="0"/>
        </a:spcAft>
        <a:defRPr sz="2400" b="1">
          <a:solidFill>
            <a:srgbClr val="006699"/>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6344"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2689"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69030"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5379" algn="l" rtl="0" eaLnBrk="1" fontAlgn="base" hangingPunct="1">
        <a:spcBef>
          <a:spcPct val="0"/>
        </a:spcBef>
        <a:spcAft>
          <a:spcPct val="0"/>
        </a:spcAft>
        <a:defRPr sz="2400" b="1">
          <a:solidFill>
            <a:srgbClr val="5B7893"/>
          </a:solidFill>
          <a:latin typeface="Arial" charset="0"/>
          <a:ea typeface="ＭＳ Ｐゴシック" pitchFamily="1" charset="-128"/>
        </a:defRPr>
      </a:lvl9pPr>
    </p:titleStyle>
    <p:bodyStyle>
      <a:lvl1pPr marL="342259" indent="-342259" algn="l" rtl="0" eaLnBrk="0" fontAlgn="base" hangingPunct="0">
        <a:spcBef>
          <a:spcPct val="25000"/>
        </a:spcBef>
        <a:spcAft>
          <a:spcPct val="20000"/>
        </a:spcAft>
        <a:defRPr b="1">
          <a:solidFill>
            <a:srgbClr val="333333"/>
          </a:solidFill>
          <a:latin typeface="+mn-lt"/>
          <a:ea typeface="+mn-ea"/>
          <a:cs typeface="+mn-cs"/>
        </a:defRPr>
      </a:lvl1pPr>
      <a:lvl2pPr marL="285215" indent="-171129" algn="l" rtl="0" eaLnBrk="0" fontAlgn="base" hangingPunct="0">
        <a:spcBef>
          <a:spcPct val="25000"/>
        </a:spcBef>
        <a:spcAft>
          <a:spcPct val="20000"/>
        </a:spcAft>
        <a:buClr>
          <a:srgbClr val="006699"/>
        </a:buClr>
        <a:buSzPct val="100000"/>
        <a:buFont typeface="Arial" charset="0"/>
        <a:buChar char="•"/>
        <a:defRPr sz="1600">
          <a:solidFill>
            <a:srgbClr val="333333"/>
          </a:solidFill>
          <a:latin typeface="+mn-lt"/>
          <a:ea typeface="+mn-ea"/>
        </a:defRPr>
      </a:lvl2pPr>
      <a:lvl3pPr marL="573599" indent="-174295" algn="l" rtl="0" eaLnBrk="0" fontAlgn="base" hangingPunct="0">
        <a:spcBef>
          <a:spcPct val="25000"/>
        </a:spcBef>
        <a:spcAft>
          <a:spcPct val="20000"/>
        </a:spcAft>
        <a:buClr>
          <a:srgbClr val="006699"/>
        </a:buClr>
        <a:buFont typeface="Symbol" pitchFamily="18" charset="2"/>
        <a:buChar char=""/>
        <a:defRPr sz="1400">
          <a:solidFill>
            <a:srgbClr val="333333"/>
          </a:solidFill>
          <a:latin typeface="+mn-lt"/>
          <a:ea typeface="+mn-ea"/>
        </a:defRPr>
      </a:lvl3pPr>
      <a:lvl4pPr marL="854066" indent="-166376" algn="l" rtl="0" eaLnBrk="0" fontAlgn="base" hangingPunct="0">
        <a:spcBef>
          <a:spcPct val="25000"/>
        </a:spcBef>
        <a:spcAft>
          <a:spcPct val="20000"/>
        </a:spcAft>
        <a:buClr>
          <a:srgbClr val="006699"/>
        </a:buClr>
        <a:buSzPct val="100000"/>
        <a:buFont typeface="Arial" charset="0"/>
        <a:buChar char="•"/>
        <a:defRPr sz="1200">
          <a:solidFill>
            <a:srgbClr val="333333"/>
          </a:solidFill>
          <a:latin typeface="+mn-lt"/>
          <a:ea typeface="+mn-ea"/>
        </a:defRPr>
      </a:lvl4pPr>
      <a:lvl5pPr marL="1140861" indent="-172712" algn="l" rtl="0" eaLnBrk="0" fontAlgn="base" hangingPunct="0">
        <a:spcBef>
          <a:spcPct val="25000"/>
        </a:spcBef>
        <a:spcAft>
          <a:spcPct val="20000"/>
        </a:spcAft>
        <a:buClr>
          <a:srgbClr val="006699"/>
        </a:buClr>
        <a:buFont typeface="Symbol" pitchFamily="18" charset="2"/>
        <a:buChar char=""/>
        <a:defRPr sz="1000">
          <a:solidFill>
            <a:srgbClr val="333333"/>
          </a:solidFill>
          <a:latin typeface="+mn-lt"/>
          <a:ea typeface="+mn-ea"/>
        </a:defRPr>
      </a:lvl5pPr>
      <a:lvl6pPr marL="1597210"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6pPr>
      <a:lvl7pPr marL="2053552"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7pPr>
      <a:lvl8pPr marL="2509899"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8pPr>
      <a:lvl9pPr marL="2966246"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9pPr>
    </p:bodyStyle>
    <p:otherStyle>
      <a:defPPr>
        <a:defRPr lang="en-US"/>
      </a:defPPr>
      <a:lvl1pPr marL="0" algn="l" defTabSz="912689" rtl="0" eaLnBrk="1" latinLnBrk="0" hangingPunct="1">
        <a:defRPr sz="1800" kern="1200">
          <a:solidFill>
            <a:schemeClr val="tx1"/>
          </a:solidFill>
          <a:latin typeface="+mn-lt"/>
          <a:ea typeface="+mn-ea"/>
          <a:cs typeface="+mn-cs"/>
        </a:defRPr>
      </a:lvl1pPr>
      <a:lvl2pPr marL="456344" algn="l" defTabSz="912689" rtl="0" eaLnBrk="1" latinLnBrk="0" hangingPunct="1">
        <a:defRPr sz="1800" kern="1200">
          <a:solidFill>
            <a:schemeClr val="tx1"/>
          </a:solidFill>
          <a:latin typeface="+mn-lt"/>
          <a:ea typeface="+mn-ea"/>
          <a:cs typeface="+mn-cs"/>
        </a:defRPr>
      </a:lvl2pPr>
      <a:lvl3pPr marL="912689" algn="l" defTabSz="912689" rtl="0" eaLnBrk="1" latinLnBrk="0" hangingPunct="1">
        <a:defRPr sz="1800" kern="1200">
          <a:solidFill>
            <a:schemeClr val="tx1"/>
          </a:solidFill>
          <a:latin typeface="+mn-lt"/>
          <a:ea typeface="+mn-ea"/>
          <a:cs typeface="+mn-cs"/>
        </a:defRPr>
      </a:lvl3pPr>
      <a:lvl4pPr marL="1369030" algn="l" defTabSz="912689" rtl="0" eaLnBrk="1" latinLnBrk="0" hangingPunct="1">
        <a:defRPr sz="1800" kern="1200">
          <a:solidFill>
            <a:schemeClr val="tx1"/>
          </a:solidFill>
          <a:latin typeface="+mn-lt"/>
          <a:ea typeface="+mn-ea"/>
          <a:cs typeface="+mn-cs"/>
        </a:defRPr>
      </a:lvl4pPr>
      <a:lvl5pPr marL="1825379" algn="l" defTabSz="912689" rtl="0" eaLnBrk="1" latinLnBrk="0" hangingPunct="1">
        <a:defRPr sz="1800" kern="1200">
          <a:solidFill>
            <a:schemeClr val="tx1"/>
          </a:solidFill>
          <a:latin typeface="+mn-lt"/>
          <a:ea typeface="+mn-ea"/>
          <a:cs typeface="+mn-cs"/>
        </a:defRPr>
      </a:lvl5pPr>
      <a:lvl6pPr marL="2281726" algn="l" defTabSz="912689" rtl="0" eaLnBrk="1" latinLnBrk="0" hangingPunct="1">
        <a:defRPr sz="1800" kern="1200">
          <a:solidFill>
            <a:schemeClr val="tx1"/>
          </a:solidFill>
          <a:latin typeface="+mn-lt"/>
          <a:ea typeface="+mn-ea"/>
          <a:cs typeface="+mn-cs"/>
        </a:defRPr>
      </a:lvl6pPr>
      <a:lvl7pPr marL="2738067" algn="l" defTabSz="912689" rtl="0" eaLnBrk="1" latinLnBrk="0" hangingPunct="1">
        <a:defRPr sz="1800" kern="1200">
          <a:solidFill>
            <a:schemeClr val="tx1"/>
          </a:solidFill>
          <a:latin typeface="+mn-lt"/>
          <a:ea typeface="+mn-ea"/>
          <a:cs typeface="+mn-cs"/>
        </a:defRPr>
      </a:lvl7pPr>
      <a:lvl8pPr marL="3194416" algn="l" defTabSz="912689" rtl="0" eaLnBrk="1" latinLnBrk="0" hangingPunct="1">
        <a:defRPr sz="1800" kern="1200">
          <a:solidFill>
            <a:schemeClr val="tx1"/>
          </a:solidFill>
          <a:latin typeface="+mn-lt"/>
          <a:ea typeface="+mn-ea"/>
          <a:cs typeface="+mn-cs"/>
        </a:defRPr>
      </a:lvl8pPr>
      <a:lvl9pPr marL="3650762" algn="l" defTabSz="9126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541472" y="-4763"/>
            <a:ext cx="7450137"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625" numCol="1" anchor="b"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57200" y="1250958"/>
            <a:ext cx="82296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28" name="Group 8"/>
          <p:cNvGrpSpPr>
            <a:grpSpLocks/>
          </p:cNvGrpSpPr>
          <p:nvPr/>
        </p:nvGrpSpPr>
        <p:grpSpPr bwMode="auto">
          <a:xfrm>
            <a:off x="101601" y="104775"/>
            <a:ext cx="668338" cy="685800"/>
            <a:chOff x="18142" y="955"/>
            <a:chExt cx="2084" cy="2140"/>
          </a:xfrm>
        </p:grpSpPr>
        <p:sp>
          <p:nvSpPr>
            <p:cNvPr id="1032" name="Rectangle 9"/>
            <p:cNvSpPr>
              <a:spLocks noChangeArrowheads="1"/>
            </p:cNvSpPr>
            <p:nvPr/>
          </p:nvSpPr>
          <p:spPr bwMode="auto">
            <a:xfrm>
              <a:off x="18142" y="955"/>
              <a:ext cx="1871"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1033" name="Freeform 10"/>
            <p:cNvSpPr>
              <a:spLocks/>
            </p:cNvSpPr>
            <p:nvPr/>
          </p:nvSpPr>
          <p:spPr bwMode="auto">
            <a:xfrm>
              <a:off x="19102" y="2392"/>
              <a:ext cx="396" cy="619"/>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4" name="Freeform 11"/>
            <p:cNvSpPr>
              <a:spLocks/>
            </p:cNvSpPr>
            <p:nvPr/>
          </p:nvSpPr>
          <p:spPr bwMode="auto">
            <a:xfrm>
              <a:off x="19221" y="2738"/>
              <a:ext cx="168" cy="173"/>
            </a:xfrm>
            <a:custGeom>
              <a:avLst/>
              <a:gdLst>
                <a:gd name="T0" fmla="*/ 1 w 336"/>
                <a:gd name="T1" fmla="*/ 1 h 343"/>
                <a:gd name="T2" fmla="*/ 1 w 336"/>
                <a:gd name="T3" fmla="*/ 1 h 343"/>
                <a:gd name="T4" fmla="*/ 1 w 336"/>
                <a:gd name="T5" fmla="*/ 1 h 343"/>
                <a:gd name="T6" fmla="*/ 1 w 336"/>
                <a:gd name="T7" fmla="*/ 1 h 343"/>
                <a:gd name="T8" fmla="*/ 1 w 336"/>
                <a:gd name="T9" fmla="*/ 1 h 343"/>
                <a:gd name="T10" fmla="*/ 1 w 336"/>
                <a:gd name="T11" fmla="*/ 1 h 343"/>
                <a:gd name="T12" fmla="*/ 1 w 336"/>
                <a:gd name="T13" fmla="*/ 1 h 343"/>
                <a:gd name="T14" fmla="*/ 1 w 336"/>
                <a:gd name="T15" fmla="*/ 0 h 343"/>
                <a:gd name="T16" fmla="*/ 1 w 336"/>
                <a:gd name="T17" fmla="*/ 0 h 343"/>
                <a:gd name="T18" fmla="*/ 1 w 336"/>
                <a:gd name="T19" fmla="*/ 1 h 343"/>
                <a:gd name="T20" fmla="*/ 1 w 336"/>
                <a:gd name="T21" fmla="*/ 1 h 343"/>
                <a:gd name="T22" fmla="*/ 0 w 336"/>
                <a:gd name="T23" fmla="*/ 1 h 343"/>
                <a:gd name="T24" fmla="*/ 1 w 336"/>
                <a:gd name="T25" fmla="*/ 1 h 343"/>
                <a:gd name="T26" fmla="*/ 1 w 336"/>
                <a:gd name="T27" fmla="*/ 1 h 343"/>
                <a:gd name="T28" fmla="*/ 1 w 336"/>
                <a:gd name="T29" fmla="*/ 1 h 343"/>
                <a:gd name="T30" fmla="*/ 1 w 336"/>
                <a:gd name="T31" fmla="*/ 1 h 343"/>
                <a:gd name="T32" fmla="*/ 1 w 336"/>
                <a:gd name="T33" fmla="*/ 1 h 343"/>
                <a:gd name="T34" fmla="*/ 1 w 336"/>
                <a:gd name="T35" fmla="*/ 1 h 343"/>
                <a:gd name="T36" fmla="*/ 1 w 336"/>
                <a:gd name="T37" fmla="*/ 1 h 343"/>
                <a:gd name="T38" fmla="*/ 1 w 336"/>
                <a:gd name="T39" fmla="*/ 1 h 343"/>
                <a:gd name="T40" fmla="*/ 1 w 336"/>
                <a:gd name="T41" fmla="*/ 1 h 343"/>
                <a:gd name="T42" fmla="*/ 1 w 336"/>
                <a:gd name="T43" fmla="*/ 1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5" name="Freeform 12"/>
            <p:cNvSpPr>
              <a:spLocks/>
            </p:cNvSpPr>
            <p:nvPr/>
          </p:nvSpPr>
          <p:spPr bwMode="auto">
            <a:xfrm>
              <a:off x="19538" y="1039"/>
              <a:ext cx="391" cy="1977"/>
            </a:xfrm>
            <a:custGeom>
              <a:avLst/>
              <a:gdLst>
                <a:gd name="T0" fmla="*/ 0 w 785"/>
                <a:gd name="T1" fmla="*/ 0 h 3959"/>
                <a:gd name="T2" fmla="*/ 0 w 785"/>
                <a:gd name="T3" fmla="*/ 0 h 3959"/>
                <a:gd name="T4" fmla="*/ 0 w 785"/>
                <a:gd name="T5" fmla="*/ 0 h 3959"/>
                <a:gd name="T6" fmla="*/ 0 w 785"/>
                <a:gd name="T7" fmla="*/ 0 h 3959"/>
                <a:gd name="T8" fmla="*/ 0 w 785"/>
                <a:gd name="T9" fmla="*/ 0 h 3959"/>
                <a:gd name="T10" fmla="*/ 0 w 785"/>
                <a:gd name="T11" fmla="*/ 0 h 3959"/>
                <a:gd name="T12" fmla="*/ 0 w 785"/>
                <a:gd name="T13" fmla="*/ 0 h 3959"/>
                <a:gd name="T14" fmla="*/ 0 w 785"/>
                <a:gd name="T15" fmla="*/ 0 h 3959"/>
                <a:gd name="T16" fmla="*/ 0 w 785"/>
                <a:gd name="T17" fmla="*/ 0 h 3959"/>
                <a:gd name="T18" fmla="*/ 0 w 785"/>
                <a:gd name="T19" fmla="*/ 0 h 3959"/>
                <a:gd name="T20" fmla="*/ 0 w 785"/>
                <a:gd name="T21" fmla="*/ 0 h 3959"/>
                <a:gd name="T22" fmla="*/ 0 w 785"/>
                <a:gd name="T23" fmla="*/ 0 h 3959"/>
                <a:gd name="T24" fmla="*/ 0 w 785"/>
                <a:gd name="T25" fmla="*/ 0 h 3959"/>
                <a:gd name="T26" fmla="*/ 0 w 785"/>
                <a:gd name="T27" fmla="*/ 0 h 3959"/>
                <a:gd name="T28" fmla="*/ 0 w 785"/>
                <a:gd name="T29" fmla="*/ 0 h 3959"/>
                <a:gd name="T30" fmla="*/ 0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6" name="Freeform 13"/>
            <p:cNvSpPr>
              <a:spLocks/>
            </p:cNvSpPr>
            <p:nvPr/>
          </p:nvSpPr>
          <p:spPr bwMode="auto">
            <a:xfrm>
              <a:off x="18424" y="2397"/>
              <a:ext cx="74" cy="218"/>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0 w 152"/>
                <a:gd name="T17" fmla="*/ 1 h 435"/>
                <a:gd name="T18" fmla="*/ 0 w 152"/>
                <a:gd name="T19" fmla="*/ 1 h 435"/>
                <a:gd name="T20" fmla="*/ 0 w 152"/>
                <a:gd name="T21" fmla="*/ 1 h 435"/>
                <a:gd name="T22" fmla="*/ 0 w 152"/>
                <a:gd name="T23" fmla="*/ 1 h 435"/>
                <a:gd name="T24" fmla="*/ 0 w 152"/>
                <a:gd name="T25" fmla="*/ 1 h 435"/>
                <a:gd name="T26" fmla="*/ 0 w 152"/>
                <a:gd name="T27" fmla="*/ 1 h 435"/>
                <a:gd name="T28" fmla="*/ 0 w 152"/>
                <a:gd name="T29" fmla="*/ 1 h 435"/>
                <a:gd name="T30" fmla="*/ 0 w 152"/>
                <a:gd name="T31" fmla="*/ 1 h 435"/>
                <a:gd name="T32" fmla="*/ 0 w 152"/>
                <a:gd name="T33" fmla="*/ 1 h 435"/>
                <a:gd name="T34" fmla="*/ 0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7" name="Freeform 14"/>
            <p:cNvSpPr>
              <a:spLocks/>
            </p:cNvSpPr>
            <p:nvPr/>
          </p:nvSpPr>
          <p:spPr bwMode="auto">
            <a:xfrm>
              <a:off x="18221" y="1039"/>
              <a:ext cx="1307" cy="1977"/>
            </a:xfrm>
            <a:custGeom>
              <a:avLst/>
              <a:gdLst>
                <a:gd name="T0" fmla="*/ 0 w 2616"/>
                <a:gd name="T1" fmla="*/ 0 h 3962"/>
                <a:gd name="T2" fmla="*/ 0 w 2616"/>
                <a:gd name="T3" fmla="*/ 0 h 3962"/>
                <a:gd name="T4" fmla="*/ 0 w 2616"/>
                <a:gd name="T5" fmla="*/ 0 h 3962"/>
                <a:gd name="T6" fmla="*/ 0 w 2616"/>
                <a:gd name="T7" fmla="*/ 0 h 3962"/>
                <a:gd name="T8" fmla="*/ 0 w 2616"/>
                <a:gd name="T9" fmla="*/ 0 h 3962"/>
                <a:gd name="T10" fmla="*/ 0 w 2616"/>
                <a:gd name="T11" fmla="*/ 0 h 3962"/>
                <a:gd name="T12" fmla="*/ 0 w 2616"/>
                <a:gd name="T13" fmla="*/ 0 h 3962"/>
                <a:gd name="T14" fmla="*/ 0 w 2616"/>
                <a:gd name="T15" fmla="*/ 0 h 3962"/>
                <a:gd name="T16" fmla="*/ 0 w 2616"/>
                <a:gd name="T17" fmla="*/ 0 h 3962"/>
                <a:gd name="T18" fmla="*/ 0 w 2616"/>
                <a:gd name="T19" fmla="*/ 0 h 3962"/>
                <a:gd name="T20" fmla="*/ 0 w 2616"/>
                <a:gd name="T21" fmla="*/ 0 h 3962"/>
                <a:gd name="T22" fmla="*/ 0 w 2616"/>
                <a:gd name="T23" fmla="*/ 0 h 3962"/>
                <a:gd name="T24" fmla="*/ 0 w 2616"/>
                <a:gd name="T25" fmla="*/ 0 h 3962"/>
                <a:gd name="T26" fmla="*/ 0 w 2616"/>
                <a:gd name="T27" fmla="*/ 0 h 3962"/>
                <a:gd name="T28" fmla="*/ 0 w 2616"/>
                <a:gd name="T29" fmla="*/ 0 h 3962"/>
                <a:gd name="T30" fmla="*/ 0 w 2616"/>
                <a:gd name="T31" fmla="*/ 0 h 3962"/>
                <a:gd name="T32" fmla="*/ 0 w 2616"/>
                <a:gd name="T33" fmla="*/ 0 h 3962"/>
                <a:gd name="T34" fmla="*/ 0 w 2616"/>
                <a:gd name="T35" fmla="*/ 0 h 3962"/>
                <a:gd name="T36" fmla="*/ 0 w 2616"/>
                <a:gd name="T37" fmla="*/ 0 h 3962"/>
                <a:gd name="T38" fmla="*/ 0 w 2616"/>
                <a:gd name="T39" fmla="*/ 0 h 3962"/>
                <a:gd name="T40" fmla="*/ 0 w 2616"/>
                <a:gd name="T41" fmla="*/ 0 h 3962"/>
                <a:gd name="T42" fmla="*/ 0 w 2616"/>
                <a:gd name="T43" fmla="*/ 0 h 3962"/>
                <a:gd name="T44" fmla="*/ 0 w 2616"/>
                <a:gd name="T45" fmla="*/ 0 h 3962"/>
                <a:gd name="T46" fmla="*/ 0 w 2616"/>
                <a:gd name="T47" fmla="*/ 0 h 3962"/>
                <a:gd name="T48" fmla="*/ 0 w 2616"/>
                <a:gd name="T49" fmla="*/ 0 h 3962"/>
                <a:gd name="T50" fmla="*/ 0 w 2616"/>
                <a:gd name="T51" fmla="*/ 0 h 3962"/>
                <a:gd name="T52" fmla="*/ 0 w 2616"/>
                <a:gd name="T53" fmla="*/ 0 h 3962"/>
                <a:gd name="T54" fmla="*/ 0 w 2616"/>
                <a:gd name="T55" fmla="*/ 0 h 3962"/>
                <a:gd name="T56" fmla="*/ 0 w 2616"/>
                <a:gd name="T57" fmla="*/ 0 h 3962"/>
                <a:gd name="T58" fmla="*/ 0 w 2616"/>
                <a:gd name="T59" fmla="*/ 0 h 3962"/>
                <a:gd name="T60" fmla="*/ 0 w 2616"/>
                <a:gd name="T61" fmla="*/ 0 h 3962"/>
                <a:gd name="T62" fmla="*/ 0 w 2616"/>
                <a:gd name="T63" fmla="*/ 0 h 3962"/>
                <a:gd name="T64" fmla="*/ 0 w 2616"/>
                <a:gd name="T65" fmla="*/ 0 h 3962"/>
                <a:gd name="T66" fmla="*/ 0 w 2616"/>
                <a:gd name="T67" fmla="*/ 0 h 3962"/>
                <a:gd name="T68" fmla="*/ 0 w 2616"/>
                <a:gd name="T69" fmla="*/ 0 h 3962"/>
                <a:gd name="T70" fmla="*/ 0 w 2616"/>
                <a:gd name="T71" fmla="*/ 0 h 3962"/>
                <a:gd name="T72" fmla="*/ 0 w 2616"/>
                <a:gd name="T73" fmla="*/ 0 h 3962"/>
                <a:gd name="T74" fmla="*/ 0 w 2616"/>
                <a:gd name="T75" fmla="*/ 0 h 3962"/>
                <a:gd name="T76" fmla="*/ 0 w 2616"/>
                <a:gd name="T77" fmla="*/ 0 h 3962"/>
                <a:gd name="T78" fmla="*/ 0 w 2616"/>
                <a:gd name="T79" fmla="*/ 0 h 3962"/>
                <a:gd name="T80" fmla="*/ 0 w 2616"/>
                <a:gd name="T81" fmla="*/ 0 h 3962"/>
                <a:gd name="T82" fmla="*/ 0 w 2616"/>
                <a:gd name="T83" fmla="*/ 0 h 3962"/>
                <a:gd name="T84" fmla="*/ 0 w 2616"/>
                <a:gd name="T85" fmla="*/ 0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8" name="Freeform 15"/>
            <p:cNvSpPr>
              <a:spLocks noEditPoints="1"/>
            </p:cNvSpPr>
            <p:nvPr/>
          </p:nvSpPr>
          <p:spPr bwMode="auto">
            <a:xfrm>
              <a:off x="19993" y="1044"/>
              <a:ext cx="233" cy="233"/>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grpSp>
      <p:sp>
        <p:nvSpPr>
          <p:cNvPr id="1029" name="Line 2"/>
          <p:cNvSpPr>
            <a:spLocks noChangeShapeType="1"/>
          </p:cNvSpPr>
          <p:nvPr/>
        </p:nvSpPr>
        <p:spPr bwMode="auto">
          <a:xfrm>
            <a:off x="8" y="881063"/>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ndParaRPr>
          </a:p>
        </p:txBody>
      </p:sp>
      <p:sp>
        <p:nvSpPr>
          <p:cNvPr id="32" name="TextBox 31"/>
          <p:cNvSpPr txBox="1"/>
          <p:nvPr/>
        </p:nvSpPr>
        <p:spPr>
          <a:xfrm>
            <a:off x="8540750" y="658814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428151241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hf sldNum="0" hdr="0" ftr="0" dt="0"/>
  <p:txStyles>
    <p:titleStyle>
      <a:lvl1pPr algn="r" rtl="0" eaLnBrk="0" fontAlgn="base" hangingPunct="0">
        <a:spcBef>
          <a:spcPct val="0"/>
        </a:spcBef>
        <a:spcAft>
          <a:spcPct val="0"/>
        </a:spcAft>
        <a:defRPr sz="2400" b="1">
          <a:solidFill>
            <a:schemeClr val="accent1">
              <a:lumMod val="75000"/>
            </a:schemeClr>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6344"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2689"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69030"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5379" algn="l" rtl="0" eaLnBrk="1" fontAlgn="base" hangingPunct="1">
        <a:spcBef>
          <a:spcPct val="0"/>
        </a:spcBef>
        <a:spcAft>
          <a:spcPct val="0"/>
        </a:spcAft>
        <a:defRPr sz="2400" b="1">
          <a:solidFill>
            <a:srgbClr val="5B7893"/>
          </a:solidFill>
          <a:latin typeface="Arial" charset="0"/>
          <a:ea typeface="ＭＳ Ｐゴシック" pitchFamily="1" charset="-128"/>
        </a:defRPr>
      </a:lvl9pPr>
    </p:titleStyle>
    <p:bodyStyle>
      <a:lvl1pPr marL="342259" indent="-342259" algn="l" rtl="0" eaLnBrk="0" fontAlgn="base" hangingPunct="0">
        <a:spcBef>
          <a:spcPct val="25000"/>
        </a:spcBef>
        <a:spcAft>
          <a:spcPct val="20000"/>
        </a:spcAft>
        <a:defRPr b="1">
          <a:solidFill>
            <a:srgbClr val="333333"/>
          </a:solidFill>
          <a:latin typeface="+mn-lt"/>
          <a:ea typeface="+mn-ea"/>
          <a:cs typeface="+mn-cs"/>
        </a:defRPr>
      </a:lvl1pPr>
      <a:lvl2pPr marL="285215" indent="-171129" algn="l" rtl="0" eaLnBrk="0" fontAlgn="base" hangingPunct="0">
        <a:spcBef>
          <a:spcPct val="25000"/>
        </a:spcBef>
        <a:spcAft>
          <a:spcPct val="20000"/>
        </a:spcAft>
        <a:buClr>
          <a:srgbClr val="006699"/>
        </a:buClr>
        <a:buSzPct val="100000"/>
        <a:buFont typeface="Arial" charset="0"/>
        <a:buChar char="•"/>
        <a:defRPr sz="1600">
          <a:solidFill>
            <a:srgbClr val="333333"/>
          </a:solidFill>
          <a:latin typeface="+mn-lt"/>
          <a:ea typeface="+mn-ea"/>
        </a:defRPr>
      </a:lvl2pPr>
      <a:lvl3pPr marL="573599" indent="-174295" algn="l" rtl="0" eaLnBrk="0" fontAlgn="base" hangingPunct="0">
        <a:spcBef>
          <a:spcPct val="25000"/>
        </a:spcBef>
        <a:spcAft>
          <a:spcPct val="20000"/>
        </a:spcAft>
        <a:buClr>
          <a:srgbClr val="006699"/>
        </a:buClr>
        <a:buFont typeface="Symbol" pitchFamily="18" charset="2"/>
        <a:buChar char=""/>
        <a:defRPr sz="1400">
          <a:solidFill>
            <a:srgbClr val="333333"/>
          </a:solidFill>
          <a:latin typeface="+mn-lt"/>
          <a:ea typeface="+mn-ea"/>
        </a:defRPr>
      </a:lvl3pPr>
      <a:lvl4pPr marL="854066" indent="-166376" algn="l" rtl="0" eaLnBrk="0" fontAlgn="base" hangingPunct="0">
        <a:spcBef>
          <a:spcPct val="25000"/>
        </a:spcBef>
        <a:spcAft>
          <a:spcPct val="20000"/>
        </a:spcAft>
        <a:buClr>
          <a:srgbClr val="006699"/>
        </a:buClr>
        <a:buSzPct val="100000"/>
        <a:buFont typeface="Arial" charset="0"/>
        <a:buChar char="•"/>
        <a:defRPr sz="1200">
          <a:solidFill>
            <a:srgbClr val="333333"/>
          </a:solidFill>
          <a:latin typeface="+mn-lt"/>
          <a:ea typeface="+mn-ea"/>
        </a:defRPr>
      </a:lvl4pPr>
      <a:lvl5pPr marL="1140861" indent="-172712" algn="l" rtl="0" eaLnBrk="0" fontAlgn="base" hangingPunct="0">
        <a:spcBef>
          <a:spcPct val="25000"/>
        </a:spcBef>
        <a:spcAft>
          <a:spcPct val="20000"/>
        </a:spcAft>
        <a:buClr>
          <a:srgbClr val="006699"/>
        </a:buClr>
        <a:buFont typeface="Symbol" pitchFamily="18" charset="2"/>
        <a:buChar char=""/>
        <a:defRPr sz="1000">
          <a:solidFill>
            <a:srgbClr val="333333"/>
          </a:solidFill>
          <a:latin typeface="+mn-lt"/>
          <a:ea typeface="+mn-ea"/>
        </a:defRPr>
      </a:lvl5pPr>
      <a:lvl6pPr marL="1597210"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6pPr>
      <a:lvl7pPr marL="2053552"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7pPr>
      <a:lvl8pPr marL="2509899"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8pPr>
      <a:lvl9pPr marL="2966246"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9pPr>
    </p:bodyStyle>
    <p:otherStyle>
      <a:defPPr>
        <a:defRPr lang="en-US"/>
      </a:defPPr>
      <a:lvl1pPr marL="0" algn="l" defTabSz="912689" rtl="0" eaLnBrk="1" latinLnBrk="0" hangingPunct="1">
        <a:defRPr sz="1800" kern="1200">
          <a:solidFill>
            <a:schemeClr val="tx1"/>
          </a:solidFill>
          <a:latin typeface="+mn-lt"/>
          <a:ea typeface="+mn-ea"/>
          <a:cs typeface="+mn-cs"/>
        </a:defRPr>
      </a:lvl1pPr>
      <a:lvl2pPr marL="456344" algn="l" defTabSz="912689" rtl="0" eaLnBrk="1" latinLnBrk="0" hangingPunct="1">
        <a:defRPr sz="1800" kern="1200">
          <a:solidFill>
            <a:schemeClr val="tx1"/>
          </a:solidFill>
          <a:latin typeface="+mn-lt"/>
          <a:ea typeface="+mn-ea"/>
          <a:cs typeface="+mn-cs"/>
        </a:defRPr>
      </a:lvl2pPr>
      <a:lvl3pPr marL="912689" algn="l" defTabSz="912689" rtl="0" eaLnBrk="1" latinLnBrk="0" hangingPunct="1">
        <a:defRPr sz="1800" kern="1200">
          <a:solidFill>
            <a:schemeClr val="tx1"/>
          </a:solidFill>
          <a:latin typeface="+mn-lt"/>
          <a:ea typeface="+mn-ea"/>
          <a:cs typeface="+mn-cs"/>
        </a:defRPr>
      </a:lvl3pPr>
      <a:lvl4pPr marL="1369030" algn="l" defTabSz="912689" rtl="0" eaLnBrk="1" latinLnBrk="0" hangingPunct="1">
        <a:defRPr sz="1800" kern="1200">
          <a:solidFill>
            <a:schemeClr val="tx1"/>
          </a:solidFill>
          <a:latin typeface="+mn-lt"/>
          <a:ea typeface="+mn-ea"/>
          <a:cs typeface="+mn-cs"/>
        </a:defRPr>
      </a:lvl4pPr>
      <a:lvl5pPr marL="1825379" algn="l" defTabSz="912689" rtl="0" eaLnBrk="1" latinLnBrk="0" hangingPunct="1">
        <a:defRPr sz="1800" kern="1200">
          <a:solidFill>
            <a:schemeClr val="tx1"/>
          </a:solidFill>
          <a:latin typeface="+mn-lt"/>
          <a:ea typeface="+mn-ea"/>
          <a:cs typeface="+mn-cs"/>
        </a:defRPr>
      </a:lvl5pPr>
      <a:lvl6pPr marL="2281726" algn="l" defTabSz="912689" rtl="0" eaLnBrk="1" latinLnBrk="0" hangingPunct="1">
        <a:defRPr sz="1800" kern="1200">
          <a:solidFill>
            <a:schemeClr val="tx1"/>
          </a:solidFill>
          <a:latin typeface="+mn-lt"/>
          <a:ea typeface="+mn-ea"/>
          <a:cs typeface="+mn-cs"/>
        </a:defRPr>
      </a:lvl6pPr>
      <a:lvl7pPr marL="2738067" algn="l" defTabSz="912689" rtl="0" eaLnBrk="1" latinLnBrk="0" hangingPunct="1">
        <a:defRPr sz="1800" kern="1200">
          <a:solidFill>
            <a:schemeClr val="tx1"/>
          </a:solidFill>
          <a:latin typeface="+mn-lt"/>
          <a:ea typeface="+mn-ea"/>
          <a:cs typeface="+mn-cs"/>
        </a:defRPr>
      </a:lvl7pPr>
      <a:lvl8pPr marL="3194416" algn="l" defTabSz="912689" rtl="0" eaLnBrk="1" latinLnBrk="0" hangingPunct="1">
        <a:defRPr sz="1800" kern="1200">
          <a:solidFill>
            <a:schemeClr val="tx1"/>
          </a:solidFill>
          <a:latin typeface="+mn-lt"/>
          <a:ea typeface="+mn-ea"/>
          <a:cs typeface="+mn-cs"/>
        </a:defRPr>
      </a:lvl8pPr>
      <a:lvl9pPr marL="3650762" algn="l" defTabSz="91268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541472" y="-4763"/>
            <a:ext cx="7450137"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625" numCol="1" anchor="b"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57200" y="1250958"/>
            <a:ext cx="82296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28" name="Group 8"/>
          <p:cNvGrpSpPr>
            <a:grpSpLocks/>
          </p:cNvGrpSpPr>
          <p:nvPr/>
        </p:nvGrpSpPr>
        <p:grpSpPr bwMode="auto">
          <a:xfrm>
            <a:off x="101601" y="104775"/>
            <a:ext cx="668338" cy="685800"/>
            <a:chOff x="18142" y="955"/>
            <a:chExt cx="2084" cy="2140"/>
          </a:xfrm>
        </p:grpSpPr>
        <p:sp>
          <p:nvSpPr>
            <p:cNvPr id="1032" name="Rectangle 9"/>
            <p:cNvSpPr>
              <a:spLocks noChangeArrowheads="1"/>
            </p:cNvSpPr>
            <p:nvPr/>
          </p:nvSpPr>
          <p:spPr bwMode="auto">
            <a:xfrm>
              <a:off x="18142" y="955"/>
              <a:ext cx="1871"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1033" name="Freeform 10"/>
            <p:cNvSpPr>
              <a:spLocks/>
            </p:cNvSpPr>
            <p:nvPr/>
          </p:nvSpPr>
          <p:spPr bwMode="auto">
            <a:xfrm>
              <a:off x="19102" y="2392"/>
              <a:ext cx="396" cy="619"/>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4" name="Freeform 11"/>
            <p:cNvSpPr>
              <a:spLocks/>
            </p:cNvSpPr>
            <p:nvPr/>
          </p:nvSpPr>
          <p:spPr bwMode="auto">
            <a:xfrm>
              <a:off x="19221" y="2738"/>
              <a:ext cx="168" cy="173"/>
            </a:xfrm>
            <a:custGeom>
              <a:avLst/>
              <a:gdLst>
                <a:gd name="T0" fmla="*/ 1 w 336"/>
                <a:gd name="T1" fmla="*/ 1 h 343"/>
                <a:gd name="T2" fmla="*/ 1 w 336"/>
                <a:gd name="T3" fmla="*/ 1 h 343"/>
                <a:gd name="T4" fmla="*/ 1 w 336"/>
                <a:gd name="T5" fmla="*/ 1 h 343"/>
                <a:gd name="T6" fmla="*/ 1 w 336"/>
                <a:gd name="T7" fmla="*/ 1 h 343"/>
                <a:gd name="T8" fmla="*/ 1 w 336"/>
                <a:gd name="T9" fmla="*/ 1 h 343"/>
                <a:gd name="T10" fmla="*/ 1 w 336"/>
                <a:gd name="T11" fmla="*/ 1 h 343"/>
                <a:gd name="T12" fmla="*/ 1 w 336"/>
                <a:gd name="T13" fmla="*/ 1 h 343"/>
                <a:gd name="T14" fmla="*/ 1 w 336"/>
                <a:gd name="T15" fmla="*/ 0 h 343"/>
                <a:gd name="T16" fmla="*/ 1 w 336"/>
                <a:gd name="T17" fmla="*/ 0 h 343"/>
                <a:gd name="T18" fmla="*/ 1 w 336"/>
                <a:gd name="T19" fmla="*/ 1 h 343"/>
                <a:gd name="T20" fmla="*/ 1 w 336"/>
                <a:gd name="T21" fmla="*/ 1 h 343"/>
                <a:gd name="T22" fmla="*/ 0 w 336"/>
                <a:gd name="T23" fmla="*/ 1 h 343"/>
                <a:gd name="T24" fmla="*/ 1 w 336"/>
                <a:gd name="T25" fmla="*/ 1 h 343"/>
                <a:gd name="T26" fmla="*/ 1 w 336"/>
                <a:gd name="T27" fmla="*/ 1 h 343"/>
                <a:gd name="T28" fmla="*/ 1 w 336"/>
                <a:gd name="T29" fmla="*/ 1 h 343"/>
                <a:gd name="T30" fmla="*/ 1 w 336"/>
                <a:gd name="T31" fmla="*/ 1 h 343"/>
                <a:gd name="T32" fmla="*/ 1 w 336"/>
                <a:gd name="T33" fmla="*/ 1 h 343"/>
                <a:gd name="T34" fmla="*/ 1 w 336"/>
                <a:gd name="T35" fmla="*/ 1 h 343"/>
                <a:gd name="T36" fmla="*/ 1 w 336"/>
                <a:gd name="T37" fmla="*/ 1 h 343"/>
                <a:gd name="T38" fmla="*/ 1 w 336"/>
                <a:gd name="T39" fmla="*/ 1 h 343"/>
                <a:gd name="T40" fmla="*/ 1 w 336"/>
                <a:gd name="T41" fmla="*/ 1 h 343"/>
                <a:gd name="T42" fmla="*/ 1 w 336"/>
                <a:gd name="T43" fmla="*/ 1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5" name="Freeform 12"/>
            <p:cNvSpPr>
              <a:spLocks/>
            </p:cNvSpPr>
            <p:nvPr/>
          </p:nvSpPr>
          <p:spPr bwMode="auto">
            <a:xfrm>
              <a:off x="19538" y="1039"/>
              <a:ext cx="391" cy="1977"/>
            </a:xfrm>
            <a:custGeom>
              <a:avLst/>
              <a:gdLst>
                <a:gd name="T0" fmla="*/ 0 w 785"/>
                <a:gd name="T1" fmla="*/ 0 h 3959"/>
                <a:gd name="T2" fmla="*/ 0 w 785"/>
                <a:gd name="T3" fmla="*/ 0 h 3959"/>
                <a:gd name="T4" fmla="*/ 0 w 785"/>
                <a:gd name="T5" fmla="*/ 0 h 3959"/>
                <a:gd name="T6" fmla="*/ 0 w 785"/>
                <a:gd name="T7" fmla="*/ 0 h 3959"/>
                <a:gd name="T8" fmla="*/ 0 w 785"/>
                <a:gd name="T9" fmla="*/ 0 h 3959"/>
                <a:gd name="T10" fmla="*/ 0 w 785"/>
                <a:gd name="T11" fmla="*/ 0 h 3959"/>
                <a:gd name="T12" fmla="*/ 0 w 785"/>
                <a:gd name="T13" fmla="*/ 0 h 3959"/>
                <a:gd name="T14" fmla="*/ 0 w 785"/>
                <a:gd name="T15" fmla="*/ 0 h 3959"/>
                <a:gd name="T16" fmla="*/ 0 w 785"/>
                <a:gd name="T17" fmla="*/ 0 h 3959"/>
                <a:gd name="T18" fmla="*/ 0 w 785"/>
                <a:gd name="T19" fmla="*/ 0 h 3959"/>
                <a:gd name="T20" fmla="*/ 0 w 785"/>
                <a:gd name="T21" fmla="*/ 0 h 3959"/>
                <a:gd name="T22" fmla="*/ 0 w 785"/>
                <a:gd name="T23" fmla="*/ 0 h 3959"/>
                <a:gd name="T24" fmla="*/ 0 w 785"/>
                <a:gd name="T25" fmla="*/ 0 h 3959"/>
                <a:gd name="T26" fmla="*/ 0 w 785"/>
                <a:gd name="T27" fmla="*/ 0 h 3959"/>
                <a:gd name="T28" fmla="*/ 0 w 785"/>
                <a:gd name="T29" fmla="*/ 0 h 3959"/>
                <a:gd name="T30" fmla="*/ 0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6" name="Freeform 13"/>
            <p:cNvSpPr>
              <a:spLocks/>
            </p:cNvSpPr>
            <p:nvPr/>
          </p:nvSpPr>
          <p:spPr bwMode="auto">
            <a:xfrm>
              <a:off x="18424" y="2397"/>
              <a:ext cx="74" cy="218"/>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0 w 152"/>
                <a:gd name="T17" fmla="*/ 1 h 435"/>
                <a:gd name="T18" fmla="*/ 0 w 152"/>
                <a:gd name="T19" fmla="*/ 1 h 435"/>
                <a:gd name="T20" fmla="*/ 0 w 152"/>
                <a:gd name="T21" fmla="*/ 1 h 435"/>
                <a:gd name="T22" fmla="*/ 0 w 152"/>
                <a:gd name="T23" fmla="*/ 1 h 435"/>
                <a:gd name="T24" fmla="*/ 0 w 152"/>
                <a:gd name="T25" fmla="*/ 1 h 435"/>
                <a:gd name="T26" fmla="*/ 0 w 152"/>
                <a:gd name="T27" fmla="*/ 1 h 435"/>
                <a:gd name="T28" fmla="*/ 0 w 152"/>
                <a:gd name="T29" fmla="*/ 1 h 435"/>
                <a:gd name="T30" fmla="*/ 0 w 152"/>
                <a:gd name="T31" fmla="*/ 1 h 435"/>
                <a:gd name="T32" fmla="*/ 0 w 152"/>
                <a:gd name="T33" fmla="*/ 1 h 435"/>
                <a:gd name="T34" fmla="*/ 0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7" name="Freeform 14"/>
            <p:cNvSpPr>
              <a:spLocks/>
            </p:cNvSpPr>
            <p:nvPr/>
          </p:nvSpPr>
          <p:spPr bwMode="auto">
            <a:xfrm>
              <a:off x="18221" y="1039"/>
              <a:ext cx="1307" cy="1977"/>
            </a:xfrm>
            <a:custGeom>
              <a:avLst/>
              <a:gdLst>
                <a:gd name="T0" fmla="*/ 0 w 2616"/>
                <a:gd name="T1" fmla="*/ 0 h 3962"/>
                <a:gd name="T2" fmla="*/ 0 w 2616"/>
                <a:gd name="T3" fmla="*/ 0 h 3962"/>
                <a:gd name="T4" fmla="*/ 0 w 2616"/>
                <a:gd name="T5" fmla="*/ 0 h 3962"/>
                <a:gd name="T6" fmla="*/ 0 w 2616"/>
                <a:gd name="T7" fmla="*/ 0 h 3962"/>
                <a:gd name="T8" fmla="*/ 0 w 2616"/>
                <a:gd name="T9" fmla="*/ 0 h 3962"/>
                <a:gd name="T10" fmla="*/ 0 w 2616"/>
                <a:gd name="T11" fmla="*/ 0 h 3962"/>
                <a:gd name="T12" fmla="*/ 0 w 2616"/>
                <a:gd name="T13" fmla="*/ 0 h 3962"/>
                <a:gd name="T14" fmla="*/ 0 w 2616"/>
                <a:gd name="T15" fmla="*/ 0 h 3962"/>
                <a:gd name="T16" fmla="*/ 0 w 2616"/>
                <a:gd name="T17" fmla="*/ 0 h 3962"/>
                <a:gd name="T18" fmla="*/ 0 w 2616"/>
                <a:gd name="T19" fmla="*/ 0 h 3962"/>
                <a:gd name="T20" fmla="*/ 0 w 2616"/>
                <a:gd name="T21" fmla="*/ 0 h 3962"/>
                <a:gd name="T22" fmla="*/ 0 w 2616"/>
                <a:gd name="T23" fmla="*/ 0 h 3962"/>
                <a:gd name="T24" fmla="*/ 0 w 2616"/>
                <a:gd name="T25" fmla="*/ 0 h 3962"/>
                <a:gd name="T26" fmla="*/ 0 w 2616"/>
                <a:gd name="T27" fmla="*/ 0 h 3962"/>
                <a:gd name="T28" fmla="*/ 0 w 2616"/>
                <a:gd name="T29" fmla="*/ 0 h 3962"/>
                <a:gd name="T30" fmla="*/ 0 w 2616"/>
                <a:gd name="T31" fmla="*/ 0 h 3962"/>
                <a:gd name="T32" fmla="*/ 0 w 2616"/>
                <a:gd name="T33" fmla="*/ 0 h 3962"/>
                <a:gd name="T34" fmla="*/ 0 w 2616"/>
                <a:gd name="T35" fmla="*/ 0 h 3962"/>
                <a:gd name="T36" fmla="*/ 0 w 2616"/>
                <a:gd name="T37" fmla="*/ 0 h 3962"/>
                <a:gd name="T38" fmla="*/ 0 w 2616"/>
                <a:gd name="T39" fmla="*/ 0 h 3962"/>
                <a:gd name="T40" fmla="*/ 0 w 2616"/>
                <a:gd name="T41" fmla="*/ 0 h 3962"/>
                <a:gd name="T42" fmla="*/ 0 w 2616"/>
                <a:gd name="T43" fmla="*/ 0 h 3962"/>
                <a:gd name="T44" fmla="*/ 0 w 2616"/>
                <a:gd name="T45" fmla="*/ 0 h 3962"/>
                <a:gd name="T46" fmla="*/ 0 w 2616"/>
                <a:gd name="T47" fmla="*/ 0 h 3962"/>
                <a:gd name="T48" fmla="*/ 0 w 2616"/>
                <a:gd name="T49" fmla="*/ 0 h 3962"/>
                <a:gd name="T50" fmla="*/ 0 w 2616"/>
                <a:gd name="T51" fmla="*/ 0 h 3962"/>
                <a:gd name="T52" fmla="*/ 0 w 2616"/>
                <a:gd name="T53" fmla="*/ 0 h 3962"/>
                <a:gd name="T54" fmla="*/ 0 w 2616"/>
                <a:gd name="T55" fmla="*/ 0 h 3962"/>
                <a:gd name="T56" fmla="*/ 0 w 2616"/>
                <a:gd name="T57" fmla="*/ 0 h 3962"/>
                <a:gd name="T58" fmla="*/ 0 w 2616"/>
                <a:gd name="T59" fmla="*/ 0 h 3962"/>
                <a:gd name="T60" fmla="*/ 0 w 2616"/>
                <a:gd name="T61" fmla="*/ 0 h 3962"/>
                <a:gd name="T62" fmla="*/ 0 w 2616"/>
                <a:gd name="T63" fmla="*/ 0 h 3962"/>
                <a:gd name="T64" fmla="*/ 0 w 2616"/>
                <a:gd name="T65" fmla="*/ 0 h 3962"/>
                <a:gd name="T66" fmla="*/ 0 w 2616"/>
                <a:gd name="T67" fmla="*/ 0 h 3962"/>
                <a:gd name="T68" fmla="*/ 0 w 2616"/>
                <a:gd name="T69" fmla="*/ 0 h 3962"/>
                <a:gd name="T70" fmla="*/ 0 w 2616"/>
                <a:gd name="T71" fmla="*/ 0 h 3962"/>
                <a:gd name="T72" fmla="*/ 0 w 2616"/>
                <a:gd name="T73" fmla="*/ 0 h 3962"/>
                <a:gd name="T74" fmla="*/ 0 w 2616"/>
                <a:gd name="T75" fmla="*/ 0 h 3962"/>
                <a:gd name="T76" fmla="*/ 0 w 2616"/>
                <a:gd name="T77" fmla="*/ 0 h 3962"/>
                <a:gd name="T78" fmla="*/ 0 w 2616"/>
                <a:gd name="T79" fmla="*/ 0 h 3962"/>
                <a:gd name="T80" fmla="*/ 0 w 2616"/>
                <a:gd name="T81" fmla="*/ 0 h 3962"/>
                <a:gd name="T82" fmla="*/ 0 w 2616"/>
                <a:gd name="T83" fmla="*/ 0 h 3962"/>
                <a:gd name="T84" fmla="*/ 0 w 2616"/>
                <a:gd name="T85" fmla="*/ 0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8" name="Freeform 15"/>
            <p:cNvSpPr>
              <a:spLocks noEditPoints="1"/>
            </p:cNvSpPr>
            <p:nvPr/>
          </p:nvSpPr>
          <p:spPr bwMode="auto">
            <a:xfrm>
              <a:off x="19993" y="1044"/>
              <a:ext cx="233" cy="233"/>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grpSp>
      <p:sp>
        <p:nvSpPr>
          <p:cNvPr id="1029" name="Line 2"/>
          <p:cNvSpPr>
            <a:spLocks noChangeShapeType="1"/>
          </p:cNvSpPr>
          <p:nvPr/>
        </p:nvSpPr>
        <p:spPr bwMode="auto">
          <a:xfrm>
            <a:off x="8" y="881063"/>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3" name="TextBox 12"/>
          <p:cNvSpPr txBox="1"/>
          <p:nvPr/>
        </p:nvSpPr>
        <p:spPr>
          <a:xfrm>
            <a:off x="8531225" y="665593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
        <p:nvSpPr>
          <p:cNvPr id="14" name="TextBox 13"/>
          <p:cNvSpPr txBox="1"/>
          <p:nvPr userDrawn="1"/>
        </p:nvSpPr>
        <p:spPr>
          <a:xfrm>
            <a:off x="8" y="6553200"/>
            <a:ext cx="9140825" cy="261610"/>
          </a:xfrm>
          <a:prstGeom prst="rect">
            <a:avLst/>
          </a:prstGeom>
          <a:noFill/>
        </p:spPr>
        <p:txBody>
          <a:bodyPr wrap="square" rtlCol="0">
            <a:spAutoFit/>
          </a:bodyPr>
          <a:lstStyle/>
          <a:p>
            <a:pPr algn="ctr" defTabSz="912689"/>
            <a:r>
              <a:rPr lang="en-US" sz="1100">
                <a:solidFill>
                  <a:srgbClr val="FF0000"/>
                </a:solidFill>
              </a:rPr>
              <a:t>Internal &amp; Confidential</a:t>
            </a:r>
          </a:p>
        </p:txBody>
      </p:sp>
    </p:spTree>
    <p:extLst>
      <p:ext uri="{BB962C8B-B14F-4D97-AF65-F5344CB8AC3E}">
        <p14:creationId xmlns:p14="http://schemas.microsoft.com/office/powerpoint/2010/main" val="4135788737"/>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Lst>
  <p:hf sldNum="0" hdr="0" ftr="0" dt="0"/>
  <p:txStyles>
    <p:titleStyle>
      <a:lvl1pPr algn="r" rtl="0" eaLnBrk="0" fontAlgn="base" hangingPunct="0">
        <a:spcBef>
          <a:spcPct val="0"/>
        </a:spcBef>
        <a:spcAft>
          <a:spcPct val="0"/>
        </a:spcAft>
        <a:defRPr sz="2400" b="1">
          <a:solidFill>
            <a:srgbClr val="006699"/>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6344"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2689"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69030"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5379" algn="l" rtl="0" eaLnBrk="1" fontAlgn="base" hangingPunct="1">
        <a:spcBef>
          <a:spcPct val="0"/>
        </a:spcBef>
        <a:spcAft>
          <a:spcPct val="0"/>
        </a:spcAft>
        <a:defRPr sz="2400" b="1">
          <a:solidFill>
            <a:srgbClr val="5B7893"/>
          </a:solidFill>
          <a:latin typeface="Arial" charset="0"/>
          <a:ea typeface="ＭＳ Ｐゴシック" pitchFamily="1" charset="-128"/>
        </a:defRPr>
      </a:lvl9pPr>
    </p:titleStyle>
    <p:bodyStyle>
      <a:lvl1pPr marL="342259" indent="-342259" algn="l" rtl="0" eaLnBrk="0" fontAlgn="base" hangingPunct="0">
        <a:spcBef>
          <a:spcPct val="25000"/>
        </a:spcBef>
        <a:spcAft>
          <a:spcPct val="20000"/>
        </a:spcAft>
        <a:defRPr b="1">
          <a:solidFill>
            <a:srgbClr val="333333"/>
          </a:solidFill>
          <a:latin typeface="+mn-lt"/>
          <a:ea typeface="+mn-ea"/>
          <a:cs typeface="+mn-cs"/>
        </a:defRPr>
      </a:lvl1pPr>
      <a:lvl2pPr marL="285215" indent="-171129" algn="l" rtl="0" eaLnBrk="0" fontAlgn="base" hangingPunct="0">
        <a:spcBef>
          <a:spcPct val="25000"/>
        </a:spcBef>
        <a:spcAft>
          <a:spcPct val="20000"/>
        </a:spcAft>
        <a:buClr>
          <a:srgbClr val="006699"/>
        </a:buClr>
        <a:buSzPct val="100000"/>
        <a:buFont typeface="Arial" charset="0"/>
        <a:buChar char="•"/>
        <a:defRPr sz="1600">
          <a:solidFill>
            <a:srgbClr val="333333"/>
          </a:solidFill>
          <a:latin typeface="+mn-lt"/>
          <a:ea typeface="+mn-ea"/>
        </a:defRPr>
      </a:lvl2pPr>
      <a:lvl3pPr marL="573599" indent="-174295" algn="l" rtl="0" eaLnBrk="0" fontAlgn="base" hangingPunct="0">
        <a:spcBef>
          <a:spcPct val="25000"/>
        </a:spcBef>
        <a:spcAft>
          <a:spcPct val="20000"/>
        </a:spcAft>
        <a:buClr>
          <a:srgbClr val="006699"/>
        </a:buClr>
        <a:buFont typeface="Symbol" pitchFamily="18" charset="2"/>
        <a:buChar char=""/>
        <a:defRPr sz="1400">
          <a:solidFill>
            <a:srgbClr val="333333"/>
          </a:solidFill>
          <a:latin typeface="+mn-lt"/>
          <a:ea typeface="+mn-ea"/>
        </a:defRPr>
      </a:lvl3pPr>
      <a:lvl4pPr marL="854066" indent="-166376" algn="l" rtl="0" eaLnBrk="0" fontAlgn="base" hangingPunct="0">
        <a:spcBef>
          <a:spcPct val="25000"/>
        </a:spcBef>
        <a:spcAft>
          <a:spcPct val="20000"/>
        </a:spcAft>
        <a:buClr>
          <a:srgbClr val="006699"/>
        </a:buClr>
        <a:buSzPct val="100000"/>
        <a:buFont typeface="Arial" charset="0"/>
        <a:buChar char="•"/>
        <a:defRPr sz="1200">
          <a:solidFill>
            <a:srgbClr val="333333"/>
          </a:solidFill>
          <a:latin typeface="+mn-lt"/>
          <a:ea typeface="+mn-ea"/>
        </a:defRPr>
      </a:lvl4pPr>
      <a:lvl5pPr marL="1140861" indent="-172712" algn="l" rtl="0" eaLnBrk="0" fontAlgn="base" hangingPunct="0">
        <a:spcBef>
          <a:spcPct val="25000"/>
        </a:spcBef>
        <a:spcAft>
          <a:spcPct val="20000"/>
        </a:spcAft>
        <a:buClr>
          <a:srgbClr val="006699"/>
        </a:buClr>
        <a:buFont typeface="Symbol" pitchFamily="18" charset="2"/>
        <a:buChar char=""/>
        <a:defRPr sz="1000">
          <a:solidFill>
            <a:srgbClr val="333333"/>
          </a:solidFill>
          <a:latin typeface="+mn-lt"/>
          <a:ea typeface="+mn-ea"/>
        </a:defRPr>
      </a:lvl5pPr>
      <a:lvl6pPr marL="1597210"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6pPr>
      <a:lvl7pPr marL="2053552"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7pPr>
      <a:lvl8pPr marL="2509899"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8pPr>
      <a:lvl9pPr marL="2966246"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9pPr>
    </p:bodyStyle>
    <p:otherStyle>
      <a:defPPr>
        <a:defRPr lang="en-US"/>
      </a:defPPr>
      <a:lvl1pPr marL="0" algn="l" defTabSz="912689" rtl="0" eaLnBrk="1" latinLnBrk="0" hangingPunct="1">
        <a:defRPr sz="1800" kern="1200">
          <a:solidFill>
            <a:schemeClr val="tx1"/>
          </a:solidFill>
          <a:latin typeface="+mn-lt"/>
          <a:ea typeface="+mn-ea"/>
          <a:cs typeface="+mn-cs"/>
        </a:defRPr>
      </a:lvl1pPr>
      <a:lvl2pPr marL="456344" algn="l" defTabSz="912689" rtl="0" eaLnBrk="1" latinLnBrk="0" hangingPunct="1">
        <a:defRPr sz="1800" kern="1200">
          <a:solidFill>
            <a:schemeClr val="tx1"/>
          </a:solidFill>
          <a:latin typeface="+mn-lt"/>
          <a:ea typeface="+mn-ea"/>
          <a:cs typeface="+mn-cs"/>
        </a:defRPr>
      </a:lvl2pPr>
      <a:lvl3pPr marL="912689" algn="l" defTabSz="912689" rtl="0" eaLnBrk="1" latinLnBrk="0" hangingPunct="1">
        <a:defRPr sz="1800" kern="1200">
          <a:solidFill>
            <a:schemeClr val="tx1"/>
          </a:solidFill>
          <a:latin typeface="+mn-lt"/>
          <a:ea typeface="+mn-ea"/>
          <a:cs typeface="+mn-cs"/>
        </a:defRPr>
      </a:lvl3pPr>
      <a:lvl4pPr marL="1369030" algn="l" defTabSz="912689" rtl="0" eaLnBrk="1" latinLnBrk="0" hangingPunct="1">
        <a:defRPr sz="1800" kern="1200">
          <a:solidFill>
            <a:schemeClr val="tx1"/>
          </a:solidFill>
          <a:latin typeface="+mn-lt"/>
          <a:ea typeface="+mn-ea"/>
          <a:cs typeface="+mn-cs"/>
        </a:defRPr>
      </a:lvl4pPr>
      <a:lvl5pPr marL="1825379" algn="l" defTabSz="912689" rtl="0" eaLnBrk="1" latinLnBrk="0" hangingPunct="1">
        <a:defRPr sz="1800" kern="1200">
          <a:solidFill>
            <a:schemeClr val="tx1"/>
          </a:solidFill>
          <a:latin typeface="+mn-lt"/>
          <a:ea typeface="+mn-ea"/>
          <a:cs typeface="+mn-cs"/>
        </a:defRPr>
      </a:lvl5pPr>
      <a:lvl6pPr marL="2281726" algn="l" defTabSz="912689" rtl="0" eaLnBrk="1" latinLnBrk="0" hangingPunct="1">
        <a:defRPr sz="1800" kern="1200">
          <a:solidFill>
            <a:schemeClr val="tx1"/>
          </a:solidFill>
          <a:latin typeface="+mn-lt"/>
          <a:ea typeface="+mn-ea"/>
          <a:cs typeface="+mn-cs"/>
        </a:defRPr>
      </a:lvl6pPr>
      <a:lvl7pPr marL="2738067" algn="l" defTabSz="912689" rtl="0" eaLnBrk="1" latinLnBrk="0" hangingPunct="1">
        <a:defRPr sz="1800" kern="1200">
          <a:solidFill>
            <a:schemeClr val="tx1"/>
          </a:solidFill>
          <a:latin typeface="+mn-lt"/>
          <a:ea typeface="+mn-ea"/>
          <a:cs typeface="+mn-cs"/>
        </a:defRPr>
      </a:lvl7pPr>
      <a:lvl8pPr marL="3194416" algn="l" defTabSz="912689" rtl="0" eaLnBrk="1" latinLnBrk="0" hangingPunct="1">
        <a:defRPr sz="1800" kern="1200">
          <a:solidFill>
            <a:schemeClr val="tx1"/>
          </a:solidFill>
          <a:latin typeface="+mn-lt"/>
          <a:ea typeface="+mn-ea"/>
          <a:cs typeface="+mn-cs"/>
        </a:defRPr>
      </a:lvl8pPr>
      <a:lvl9pPr marL="3650762" algn="l" defTabSz="91268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541472" y="-4763"/>
            <a:ext cx="7450137"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625" numCol="1" anchor="b"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57200" y="1250958"/>
            <a:ext cx="82296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28" name="Group 8"/>
          <p:cNvGrpSpPr>
            <a:grpSpLocks/>
          </p:cNvGrpSpPr>
          <p:nvPr/>
        </p:nvGrpSpPr>
        <p:grpSpPr bwMode="auto">
          <a:xfrm>
            <a:off x="101601" y="104775"/>
            <a:ext cx="668338" cy="685800"/>
            <a:chOff x="18142" y="955"/>
            <a:chExt cx="2084" cy="2140"/>
          </a:xfrm>
        </p:grpSpPr>
        <p:sp>
          <p:nvSpPr>
            <p:cNvPr id="1032" name="Rectangle 9"/>
            <p:cNvSpPr>
              <a:spLocks noChangeArrowheads="1"/>
            </p:cNvSpPr>
            <p:nvPr/>
          </p:nvSpPr>
          <p:spPr bwMode="auto">
            <a:xfrm>
              <a:off x="18142" y="955"/>
              <a:ext cx="1871"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1033" name="Freeform 10"/>
            <p:cNvSpPr>
              <a:spLocks/>
            </p:cNvSpPr>
            <p:nvPr/>
          </p:nvSpPr>
          <p:spPr bwMode="auto">
            <a:xfrm>
              <a:off x="19102" y="2392"/>
              <a:ext cx="396" cy="619"/>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4" name="Freeform 11"/>
            <p:cNvSpPr>
              <a:spLocks/>
            </p:cNvSpPr>
            <p:nvPr/>
          </p:nvSpPr>
          <p:spPr bwMode="auto">
            <a:xfrm>
              <a:off x="19221" y="2738"/>
              <a:ext cx="168" cy="173"/>
            </a:xfrm>
            <a:custGeom>
              <a:avLst/>
              <a:gdLst>
                <a:gd name="T0" fmla="*/ 1 w 336"/>
                <a:gd name="T1" fmla="*/ 1 h 343"/>
                <a:gd name="T2" fmla="*/ 1 w 336"/>
                <a:gd name="T3" fmla="*/ 1 h 343"/>
                <a:gd name="T4" fmla="*/ 1 w 336"/>
                <a:gd name="T5" fmla="*/ 1 h 343"/>
                <a:gd name="T6" fmla="*/ 1 w 336"/>
                <a:gd name="T7" fmla="*/ 1 h 343"/>
                <a:gd name="T8" fmla="*/ 1 w 336"/>
                <a:gd name="T9" fmla="*/ 1 h 343"/>
                <a:gd name="T10" fmla="*/ 1 w 336"/>
                <a:gd name="T11" fmla="*/ 1 h 343"/>
                <a:gd name="T12" fmla="*/ 1 w 336"/>
                <a:gd name="T13" fmla="*/ 1 h 343"/>
                <a:gd name="T14" fmla="*/ 1 w 336"/>
                <a:gd name="T15" fmla="*/ 0 h 343"/>
                <a:gd name="T16" fmla="*/ 1 w 336"/>
                <a:gd name="T17" fmla="*/ 0 h 343"/>
                <a:gd name="T18" fmla="*/ 1 w 336"/>
                <a:gd name="T19" fmla="*/ 1 h 343"/>
                <a:gd name="T20" fmla="*/ 1 w 336"/>
                <a:gd name="T21" fmla="*/ 1 h 343"/>
                <a:gd name="T22" fmla="*/ 0 w 336"/>
                <a:gd name="T23" fmla="*/ 1 h 343"/>
                <a:gd name="T24" fmla="*/ 1 w 336"/>
                <a:gd name="T25" fmla="*/ 1 h 343"/>
                <a:gd name="T26" fmla="*/ 1 w 336"/>
                <a:gd name="T27" fmla="*/ 1 h 343"/>
                <a:gd name="T28" fmla="*/ 1 w 336"/>
                <a:gd name="T29" fmla="*/ 1 h 343"/>
                <a:gd name="T30" fmla="*/ 1 w 336"/>
                <a:gd name="T31" fmla="*/ 1 h 343"/>
                <a:gd name="T32" fmla="*/ 1 w 336"/>
                <a:gd name="T33" fmla="*/ 1 h 343"/>
                <a:gd name="T34" fmla="*/ 1 w 336"/>
                <a:gd name="T35" fmla="*/ 1 h 343"/>
                <a:gd name="T36" fmla="*/ 1 w 336"/>
                <a:gd name="T37" fmla="*/ 1 h 343"/>
                <a:gd name="T38" fmla="*/ 1 w 336"/>
                <a:gd name="T39" fmla="*/ 1 h 343"/>
                <a:gd name="T40" fmla="*/ 1 w 336"/>
                <a:gd name="T41" fmla="*/ 1 h 343"/>
                <a:gd name="T42" fmla="*/ 1 w 336"/>
                <a:gd name="T43" fmla="*/ 1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5" name="Freeform 12"/>
            <p:cNvSpPr>
              <a:spLocks/>
            </p:cNvSpPr>
            <p:nvPr/>
          </p:nvSpPr>
          <p:spPr bwMode="auto">
            <a:xfrm>
              <a:off x="19538" y="1039"/>
              <a:ext cx="391" cy="1977"/>
            </a:xfrm>
            <a:custGeom>
              <a:avLst/>
              <a:gdLst>
                <a:gd name="T0" fmla="*/ 0 w 785"/>
                <a:gd name="T1" fmla="*/ 0 h 3959"/>
                <a:gd name="T2" fmla="*/ 0 w 785"/>
                <a:gd name="T3" fmla="*/ 0 h 3959"/>
                <a:gd name="T4" fmla="*/ 0 w 785"/>
                <a:gd name="T5" fmla="*/ 0 h 3959"/>
                <a:gd name="T6" fmla="*/ 0 w 785"/>
                <a:gd name="T7" fmla="*/ 0 h 3959"/>
                <a:gd name="T8" fmla="*/ 0 w 785"/>
                <a:gd name="T9" fmla="*/ 0 h 3959"/>
                <a:gd name="T10" fmla="*/ 0 w 785"/>
                <a:gd name="T11" fmla="*/ 0 h 3959"/>
                <a:gd name="T12" fmla="*/ 0 w 785"/>
                <a:gd name="T13" fmla="*/ 0 h 3959"/>
                <a:gd name="T14" fmla="*/ 0 w 785"/>
                <a:gd name="T15" fmla="*/ 0 h 3959"/>
                <a:gd name="T16" fmla="*/ 0 w 785"/>
                <a:gd name="T17" fmla="*/ 0 h 3959"/>
                <a:gd name="T18" fmla="*/ 0 w 785"/>
                <a:gd name="T19" fmla="*/ 0 h 3959"/>
                <a:gd name="T20" fmla="*/ 0 w 785"/>
                <a:gd name="T21" fmla="*/ 0 h 3959"/>
                <a:gd name="T22" fmla="*/ 0 w 785"/>
                <a:gd name="T23" fmla="*/ 0 h 3959"/>
                <a:gd name="T24" fmla="*/ 0 w 785"/>
                <a:gd name="T25" fmla="*/ 0 h 3959"/>
                <a:gd name="T26" fmla="*/ 0 w 785"/>
                <a:gd name="T27" fmla="*/ 0 h 3959"/>
                <a:gd name="T28" fmla="*/ 0 w 785"/>
                <a:gd name="T29" fmla="*/ 0 h 3959"/>
                <a:gd name="T30" fmla="*/ 0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6" name="Freeform 13"/>
            <p:cNvSpPr>
              <a:spLocks/>
            </p:cNvSpPr>
            <p:nvPr/>
          </p:nvSpPr>
          <p:spPr bwMode="auto">
            <a:xfrm>
              <a:off x="18424" y="2397"/>
              <a:ext cx="74" cy="218"/>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0 w 152"/>
                <a:gd name="T17" fmla="*/ 1 h 435"/>
                <a:gd name="T18" fmla="*/ 0 w 152"/>
                <a:gd name="T19" fmla="*/ 1 h 435"/>
                <a:gd name="T20" fmla="*/ 0 w 152"/>
                <a:gd name="T21" fmla="*/ 1 h 435"/>
                <a:gd name="T22" fmla="*/ 0 w 152"/>
                <a:gd name="T23" fmla="*/ 1 h 435"/>
                <a:gd name="T24" fmla="*/ 0 w 152"/>
                <a:gd name="T25" fmla="*/ 1 h 435"/>
                <a:gd name="T26" fmla="*/ 0 w 152"/>
                <a:gd name="T27" fmla="*/ 1 h 435"/>
                <a:gd name="T28" fmla="*/ 0 w 152"/>
                <a:gd name="T29" fmla="*/ 1 h 435"/>
                <a:gd name="T30" fmla="*/ 0 w 152"/>
                <a:gd name="T31" fmla="*/ 1 h 435"/>
                <a:gd name="T32" fmla="*/ 0 w 152"/>
                <a:gd name="T33" fmla="*/ 1 h 435"/>
                <a:gd name="T34" fmla="*/ 0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7" name="Freeform 14"/>
            <p:cNvSpPr>
              <a:spLocks/>
            </p:cNvSpPr>
            <p:nvPr/>
          </p:nvSpPr>
          <p:spPr bwMode="auto">
            <a:xfrm>
              <a:off x="18221" y="1039"/>
              <a:ext cx="1307" cy="1977"/>
            </a:xfrm>
            <a:custGeom>
              <a:avLst/>
              <a:gdLst>
                <a:gd name="T0" fmla="*/ 0 w 2616"/>
                <a:gd name="T1" fmla="*/ 0 h 3962"/>
                <a:gd name="T2" fmla="*/ 0 w 2616"/>
                <a:gd name="T3" fmla="*/ 0 h 3962"/>
                <a:gd name="T4" fmla="*/ 0 w 2616"/>
                <a:gd name="T5" fmla="*/ 0 h 3962"/>
                <a:gd name="T6" fmla="*/ 0 w 2616"/>
                <a:gd name="T7" fmla="*/ 0 h 3962"/>
                <a:gd name="T8" fmla="*/ 0 w 2616"/>
                <a:gd name="T9" fmla="*/ 0 h 3962"/>
                <a:gd name="T10" fmla="*/ 0 w 2616"/>
                <a:gd name="T11" fmla="*/ 0 h 3962"/>
                <a:gd name="T12" fmla="*/ 0 w 2616"/>
                <a:gd name="T13" fmla="*/ 0 h 3962"/>
                <a:gd name="T14" fmla="*/ 0 w 2616"/>
                <a:gd name="T15" fmla="*/ 0 h 3962"/>
                <a:gd name="T16" fmla="*/ 0 w 2616"/>
                <a:gd name="T17" fmla="*/ 0 h 3962"/>
                <a:gd name="T18" fmla="*/ 0 w 2616"/>
                <a:gd name="T19" fmla="*/ 0 h 3962"/>
                <a:gd name="T20" fmla="*/ 0 w 2616"/>
                <a:gd name="T21" fmla="*/ 0 h 3962"/>
                <a:gd name="T22" fmla="*/ 0 w 2616"/>
                <a:gd name="T23" fmla="*/ 0 h 3962"/>
                <a:gd name="T24" fmla="*/ 0 w 2616"/>
                <a:gd name="T25" fmla="*/ 0 h 3962"/>
                <a:gd name="T26" fmla="*/ 0 w 2616"/>
                <a:gd name="T27" fmla="*/ 0 h 3962"/>
                <a:gd name="T28" fmla="*/ 0 w 2616"/>
                <a:gd name="T29" fmla="*/ 0 h 3962"/>
                <a:gd name="T30" fmla="*/ 0 w 2616"/>
                <a:gd name="T31" fmla="*/ 0 h 3962"/>
                <a:gd name="T32" fmla="*/ 0 w 2616"/>
                <a:gd name="T33" fmla="*/ 0 h 3962"/>
                <a:gd name="T34" fmla="*/ 0 w 2616"/>
                <a:gd name="T35" fmla="*/ 0 h 3962"/>
                <a:gd name="T36" fmla="*/ 0 w 2616"/>
                <a:gd name="T37" fmla="*/ 0 h 3962"/>
                <a:gd name="T38" fmla="*/ 0 w 2616"/>
                <a:gd name="T39" fmla="*/ 0 h 3962"/>
                <a:gd name="T40" fmla="*/ 0 w 2616"/>
                <a:gd name="T41" fmla="*/ 0 h 3962"/>
                <a:gd name="T42" fmla="*/ 0 w 2616"/>
                <a:gd name="T43" fmla="*/ 0 h 3962"/>
                <a:gd name="T44" fmla="*/ 0 w 2616"/>
                <a:gd name="T45" fmla="*/ 0 h 3962"/>
                <a:gd name="T46" fmla="*/ 0 w 2616"/>
                <a:gd name="T47" fmla="*/ 0 h 3962"/>
                <a:gd name="T48" fmla="*/ 0 w 2616"/>
                <a:gd name="T49" fmla="*/ 0 h 3962"/>
                <a:gd name="T50" fmla="*/ 0 w 2616"/>
                <a:gd name="T51" fmla="*/ 0 h 3962"/>
                <a:gd name="T52" fmla="*/ 0 w 2616"/>
                <a:gd name="T53" fmla="*/ 0 h 3962"/>
                <a:gd name="T54" fmla="*/ 0 w 2616"/>
                <a:gd name="T55" fmla="*/ 0 h 3962"/>
                <a:gd name="T56" fmla="*/ 0 w 2616"/>
                <a:gd name="T57" fmla="*/ 0 h 3962"/>
                <a:gd name="T58" fmla="*/ 0 w 2616"/>
                <a:gd name="T59" fmla="*/ 0 h 3962"/>
                <a:gd name="T60" fmla="*/ 0 w 2616"/>
                <a:gd name="T61" fmla="*/ 0 h 3962"/>
                <a:gd name="T62" fmla="*/ 0 w 2616"/>
                <a:gd name="T63" fmla="*/ 0 h 3962"/>
                <a:gd name="T64" fmla="*/ 0 w 2616"/>
                <a:gd name="T65" fmla="*/ 0 h 3962"/>
                <a:gd name="T66" fmla="*/ 0 w 2616"/>
                <a:gd name="T67" fmla="*/ 0 h 3962"/>
                <a:gd name="T68" fmla="*/ 0 w 2616"/>
                <a:gd name="T69" fmla="*/ 0 h 3962"/>
                <a:gd name="T70" fmla="*/ 0 w 2616"/>
                <a:gd name="T71" fmla="*/ 0 h 3962"/>
                <a:gd name="T72" fmla="*/ 0 w 2616"/>
                <a:gd name="T73" fmla="*/ 0 h 3962"/>
                <a:gd name="T74" fmla="*/ 0 w 2616"/>
                <a:gd name="T75" fmla="*/ 0 h 3962"/>
                <a:gd name="T76" fmla="*/ 0 w 2616"/>
                <a:gd name="T77" fmla="*/ 0 h 3962"/>
                <a:gd name="T78" fmla="*/ 0 w 2616"/>
                <a:gd name="T79" fmla="*/ 0 h 3962"/>
                <a:gd name="T80" fmla="*/ 0 w 2616"/>
                <a:gd name="T81" fmla="*/ 0 h 3962"/>
                <a:gd name="T82" fmla="*/ 0 w 2616"/>
                <a:gd name="T83" fmla="*/ 0 h 3962"/>
                <a:gd name="T84" fmla="*/ 0 w 2616"/>
                <a:gd name="T85" fmla="*/ 0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1038" name="Freeform 15"/>
            <p:cNvSpPr>
              <a:spLocks noEditPoints="1"/>
            </p:cNvSpPr>
            <p:nvPr/>
          </p:nvSpPr>
          <p:spPr bwMode="auto">
            <a:xfrm>
              <a:off x="19993" y="1044"/>
              <a:ext cx="233" cy="233"/>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grpSp>
      <p:sp>
        <p:nvSpPr>
          <p:cNvPr id="1029" name="Line 2"/>
          <p:cNvSpPr>
            <a:spLocks noChangeShapeType="1"/>
          </p:cNvSpPr>
          <p:nvPr/>
        </p:nvSpPr>
        <p:spPr bwMode="auto">
          <a:xfrm>
            <a:off x="8" y="881063"/>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a typeface="Arial Unicode MS" pitchFamily="34" charset="-128"/>
              <a:cs typeface="Arial Unicode MS" pitchFamily="34" charset="-128"/>
            </a:endParaRPr>
          </a:p>
        </p:txBody>
      </p:sp>
      <p:sp>
        <p:nvSpPr>
          <p:cNvPr id="32" name="TextBox 31"/>
          <p:cNvSpPr txBox="1"/>
          <p:nvPr/>
        </p:nvSpPr>
        <p:spPr>
          <a:xfrm>
            <a:off x="8540750" y="658814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
        <p:nvSpPr>
          <p:cNvPr id="2" name="TextBox 1"/>
          <p:cNvSpPr txBox="1"/>
          <p:nvPr userDrawn="1"/>
        </p:nvSpPr>
        <p:spPr>
          <a:xfrm>
            <a:off x="8" y="6553200"/>
            <a:ext cx="9140825" cy="261610"/>
          </a:xfrm>
          <a:prstGeom prst="rect">
            <a:avLst/>
          </a:prstGeom>
          <a:noFill/>
        </p:spPr>
        <p:txBody>
          <a:bodyPr wrap="square" rtlCol="0">
            <a:spAutoFit/>
          </a:bodyPr>
          <a:lstStyle/>
          <a:p>
            <a:pPr algn="ctr" defTabSz="912689"/>
            <a:r>
              <a:rPr lang="en-US" sz="1100">
                <a:solidFill>
                  <a:srgbClr val="FF0000"/>
                </a:solidFill>
              </a:rPr>
              <a:t>Internal &amp; Confidential</a:t>
            </a:r>
          </a:p>
        </p:txBody>
      </p:sp>
    </p:spTree>
    <p:extLst>
      <p:ext uri="{BB962C8B-B14F-4D97-AF65-F5344CB8AC3E}">
        <p14:creationId xmlns:p14="http://schemas.microsoft.com/office/powerpoint/2010/main" val="220014824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Lst>
  <p:hf sldNum="0" hdr="0" ftr="0" dt="0"/>
  <p:txStyles>
    <p:titleStyle>
      <a:lvl1pPr algn="r" rtl="0" eaLnBrk="0" fontAlgn="base" hangingPunct="0">
        <a:spcBef>
          <a:spcPct val="0"/>
        </a:spcBef>
        <a:spcAft>
          <a:spcPct val="0"/>
        </a:spcAft>
        <a:defRPr sz="2400" b="1">
          <a:solidFill>
            <a:schemeClr val="accent1">
              <a:lumMod val="75000"/>
            </a:schemeClr>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6344"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2689"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69030"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5379" algn="l" rtl="0" eaLnBrk="1" fontAlgn="base" hangingPunct="1">
        <a:spcBef>
          <a:spcPct val="0"/>
        </a:spcBef>
        <a:spcAft>
          <a:spcPct val="0"/>
        </a:spcAft>
        <a:defRPr sz="2400" b="1">
          <a:solidFill>
            <a:srgbClr val="5B7893"/>
          </a:solidFill>
          <a:latin typeface="Arial" charset="0"/>
          <a:ea typeface="ＭＳ Ｐゴシック" pitchFamily="1" charset="-128"/>
        </a:defRPr>
      </a:lvl9pPr>
    </p:titleStyle>
    <p:bodyStyle>
      <a:lvl1pPr marL="342259" indent="-342259" algn="l" rtl="0" eaLnBrk="0" fontAlgn="base" hangingPunct="0">
        <a:spcBef>
          <a:spcPct val="25000"/>
        </a:spcBef>
        <a:spcAft>
          <a:spcPct val="20000"/>
        </a:spcAft>
        <a:defRPr b="1">
          <a:solidFill>
            <a:srgbClr val="333333"/>
          </a:solidFill>
          <a:latin typeface="+mn-lt"/>
          <a:ea typeface="+mn-ea"/>
          <a:cs typeface="+mn-cs"/>
        </a:defRPr>
      </a:lvl1pPr>
      <a:lvl2pPr marL="285215" indent="-171129" algn="l" rtl="0" eaLnBrk="0" fontAlgn="base" hangingPunct="0">
        <a:spcBef>
          <a:spcPct val="25000"/>
        </a:spcBef>
        <a:spcAft>
          <a:spcPct val="20000"/>
        </a:spcAft>
        <a:buClr>
          <a:srgbClr val="006699"/>
        </a:buClr>
        <a:buSzPct val="100000"/>
        <a:buFont typeface="Arial" charset="0"/>
        <a:buChar char="•"/>
        <a:defRPr sz="1600">
          <a:solidFill>
            <a:srgbClr val="333333"/>
          </a:solidFill>
          <a:latin typeface="+mn-lt"/>
          <a:ea typeface="+mn-ea"/>
        </a:defRPr>
      </a:lvl2pPr>
      <a:lvl3pPr marL="573599" indent="-174295" algn="l" rtl="0" eaLnBrk="0" fontAlgn="base" hangingPunct="0">
        <a:spcBef>
          <a:spcPct val="25000"/>
        </a:spcBef>
        <a:spcAft>
          <a:spcPct val="20000"/>
        </a:spcAft>
        <a:buClr>
          <a:srgbClr val="006699"/>
        </a:buClr>
        <a:buFont typeface="Symbol" pitchFamily="18" charset="2"/>
        <a:buChar char=""/>
        <a:defRPr sz="1400">
          <a:solidFill>
            <a:srgbClr val="333333"/>
          </a:solidFill>
          <a:latin typeface="+mn-lt"/>
          <a:ea typeface="+mn-ea"/>
        </a:defRPr>
      </a:lvl3pPr>
      <a:lvl4pPr marL="854066" indent="-166376" algn="l" rtl="0" eaLnBrk="0" fontAlgn="base" hangingPunct="0">
        <a:spcBef>
          <a:spcPct val="25000"/>
        </a:spcBef>
        <a:spcAft>
          <a:spcPct val="20000"/>
        </a:spcAft>
        <a:buClr>
          <a:srgbClr val="006699"/>
        </a:buClr>
        <a:buSzPct val="100000"/>
        <a:buFont typeface="Arial" charset="0"/>
        <a:buChar char="•"/>
        <a:defRPr sz="1200">
          <a:solidFill>
            <a:srgbClr val="333333"/>
          </a:solidFill>
          <a:latin typeface="+mn-lt"/>
          <a:ea typeface="+mn-ea"/>
        </a:defRPr>
      </a:lvl4pPr>
      <a:lvl5pPr marL="1140861" indent="-172712" algn="l" rtl="0" eaLnBrk="0" fontAlgn="base" hangingPunct="0">
        <a:spcBef>
          <a:spcPct val="25000"/>
        </a:spcBef>
        <a:spcAft>
          <a:spcPct val="20000"/>
        </a:spcAft>
        <a:buClr>
          <a:srgbClr val="006699"/>
        </a:buClr>
        <a:buFont typeface="Symbol" pitchFamily="18" charset="2"/>
        <a:buChar char=""/>
        <a:defRPr sz="1000">
          <a:solidFill>
            <a:srgbClr val="333333"/>
          </a:solidFill>
          <a:latin typeface="+mn-lt"/>
          <a:ea typeface="+mn-ea"/>
        </a:defRPr>
      </a:lvl5pPr>
      <a:lvl6pPr marL="1597210"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6pPr>
      <a:lvl7pPr marL="2053552"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7pPr>
      <a:lvl8pPr marL="2509899"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8pPr>
      <a:lvl9pPr marL="2966246"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9pPr>
    </p:bodyStyle>
    <p:otherStyle>
      <a:defPPr>
        <a:defRPr lang="en-US"/>
      </a:defPPr>
      <a:lvl1pPr marL="0" algn="l" defTabSz="912689" rtl="0" eaLnBrk="1" latinLnBrk="0" hangingPunct="1">
        <a:defRPr sz="1800" kern="1200">
          <a:solidFill>
            <a:schemeClr val="tx1"/>
          </a:solidFill>
          <a:latin typeface="+mn-lt"/>
          <a:ea typeface="+mn-ea"/>
          <a:cs typeface="+mn-cs"/>
        </a:defRPr>
      </a:lvl1pPr>
      <a:lvl2pPr marL="456344" algn="l" defTabSz="912689" rtl="0" eaLnBrk="1" latinLnBrk="0" hangingPunct="1">
        <a:defRPr sz="1800" kern="1200">
          <a:solidFill>
            <a:schemeClr val="tx1"/>
          </a:solidFill>
          <a:latin typeface="+mn-lt"/>
          <a:ea typeface="+mn-ea"/>
          <a:cs typeface="+mn-cs"/>
        </a:defRPr>
      </a:lvl2pPr>
      <a:lvl3pPr marL="912689" algn="l" defTabSz="912689" rtl="0" eaLnBrk="1" latinLnBrk="0" hangingPunct="1">
        <a:defRPr sz="1800" kern="1200">
          <a:solidFill>
            <a:schemeClr val="tx1"/>
          </a:solidFill>
          <a:latin typeface="+mn-lt"/>
          <a:ea typeface="+mn-ea"/>
          <a:cs typeface="+mn-cs"/>
        </a:defRPr>
      </a:lvl3pPr>
      <a:lvl4pPr marL="1369030" algn="l" defTabSz="912689" rtl="0" eaLnBrk="1" latinLnBrk="0" hangingPunct="1">
        <a:defRPr sz="1800" kern="1200">
          <a:solidFill>
            <a:schemeClr val="tx1"/>
          </a:solidFill>
          <a:latin typeface="+mn-lt"/>
          <a:ea typeface="+mn-ea"/>
          <a:cs typeface="+mn-cs"/>
        </a:defRPr>
      </a:lvl4pPr>
      <a:lvl5pPr marL="1825379" algn="l" defTabSz="912689" rtl="0" eaLnBrk="1" latinLnBrk="0" hangingPunct="1">
        <a:defRPr sz="1800" kern="1200">
          <a:solidFill>
            <a:schemeClr val="tx1"/>
          </a:solidFill>
          <a:latin typeface="+mn-lt"/>
          <a:ea typeface="+mn-ea"/>
          <a:cs typeface="+mn-cs"/>
        </a:defRPr>
      </a:lvl5pPr>
      <a:lvl6pPr marL="2281726" algn="l" defTabSz="912689" rtl="0" eaLnBrk="1" latinLnBrk="0" hangingPunct="1">
        <a:defRPr sz="1800" kern="1200">
          <a:solidFill>
            <a:schemeClr val="tx1"/>
          </a:solidFill>
          <a:latin typeface="+mn-lt"/>
          <a:ea typeface="+mn-ea"/>
          <a:cs typeface="+mn-cs"/>
        </a:defRPr>
      </a:lvl6pPr>
      <a:lvl7pPr marL="2738067" algn="l" defTabSz="912689" rtl="0" eaLnBrk="1" latinLnBrk="0" hangingPunct="1">
        <a:defRPr sz="1800" kern="1200">
          <a:solidFill>
            <a:schemeClr val="tx1"/>
          </a:solidFill>
          <a:latin typeface="+mn-lt"/>
          <a:ea typeface="+mn-ea"/>
          <a:cs typeface="+mn-cs"/>
        </a:defRPr>
      </a:lvl7pPr>
      <a:lvl8pPr marL="3194416" algn="l" defTabSz="912689" rtl="0" eaLnBrk="1" latinLnBrk="0" hangingPunct="1">
        <a:defRPr sz="1800" kern="1200">
          <a:solidFill>
            <a:schemeClr val="tx1"/>
          </a:solidFill>
          <a:latin typeface="+mn-lt"/>
          <a:ea typeface="+mn-ea"/>
          <a:cs typeface="+mn-cs"/>
        </a:defRPr>
      </a:lvl8pPr>
      <a:lvl9pPr marL="3650762" algn="l" defTabSz="912689"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1" hidden="1"/>
          <p:cNvGraphicFramePr>
            <a:graphicFrameLocks noChangeAspect="1"/>
          </p:cNvGraphicFramePr>
          <p:nvPr>
            <p:custDataLst>
              <p:tags r:id="rId20"/>
            </p:custDataLst>
          </p:nvPr>
        </p:nvGraphicFramePr>
        <p:xfrm>
          <a:off x="1593" y="1594"/>
          <a:ext cx="1587" cy="1587"/>
        </p:xfrm>
        <a:graphic>
          <a:graphicData uri="http://schemas.openxmlformats.org/presentationml/2006/ole">
            <mc:AlternateContent xmlns:mc="http://schemas.openxmlformats.org/markup-compatibility/2006">
              <mc:Choice xmlns:v="urn:schemas-microsoft-com:vml" Requires="v">
                <p:oleObj spid="_x0000_s51201" name="think-cell Slide" r:id="rId21" imgW="360" imgH="360" progId="TCLayout.ActiveDocument.1">
                  <p:embed/>
                </p:oleObj>
              </mc:Choice>
              <mc:Fallback>
                <p:oleObj name="think-cell Slide" r:id="rId21" imgW="360" imgH="360" progId="TCLayout.ActiveDocument.1">
                  <p:embed/>
                  <p:pic>
                    <p:nvPicPr>
                      <p:cNvPr id="3074" name="Object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93"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075" name="Picture 10" descr="PGE_SpotlightLogobl_PPT"/>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6200" y="71442"/>
            <a:ext cx="60960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ext Box 18"/>
          <p:cNvSpPr txBox="1">
            <a:spLocks noChangeArrowheads="1"/>
          </p:cNvSpPr>
          <p:nvPr/>
        </p:nvSpPr>
        <p:spPr bwMode="auto">
          <a:xfrm>
            <a:off x="6688139" y="6640514"/>
            <a:ext cx="2455862" cy="222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95" tIns="45699" rIns="91395" bIns="45699">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3953" eaLnBrk="1" fontAlgn="base" hangingPunct="1">
              <a:lnSpc>
                <a:spcPct val="90000"/>
              </a:lnSpc>
              <a:spcBef>
                <a:spcPct val="0"/>
              </a:spcBef>
              <a:spcAft>
                <a:spcPct val="0"/>
              </a:spcAft>
              <a:defRPr/>
            </a:pPr>
            <a:fld id="{77602045-3C9C-461A-A16F-AD068809EEA2}" type="slidenum">
              <a:rPr lang="en-US" sz="900" smtClean="0">
                <a:solidFill>
                  <a:srgbClr val="0082AA"/>
                </a:solidFill>
              </a:rPr>
              <a:pPr algn="r" defTabSz="913953" eaLnBrk="1" fontAlgn="base" hangingPunct="1">
                <a:lnSpc>
                  <a:spcPct val="90000"/>
                </a:lnSpc>
                <a:spcBef>
                  <a:spcPct val="0"/>
                </a:spcBef>
                <a:spcAft>
                  <a:spcPct val="0"/>
                </a:spcAft>
                <a:defRPr/>
              </a:pPr>
              <a:t>‹#›</a:t>
            </a:fld>
            <a:r>
              <a:rPr lang="en-US" sz="900">
                <a:solidFill>
                  <a:srgbClr val="0082AA"/>
                </a:solidFill>
              </a:rPr>
              <a:t> </a:t>
            </a:r>
          </a:p>
        </p:txBody>
      </p:sp>
      <p:cxnSp>
        <p:nvCxnSpPr>
          <p:cNvPr id="5" name="Straight Connector 4"/>
          <p:cNvCxnSpPr/>
          <p:nvPr/>
        </p:nvCxnSpPr>
        <p:spPr>
          <a:xfrm>
            <a:off x="0" y="728663"/>
            <a:ext cx="9144000" cy="0"/>
          </a:xfrm>
          <a:prstGeom prst="line">
            <a:avLst/>
          </a:prstGeom>
          <a:ln w="19050">
            <a:solidFill>
              <a:srgbClr val="FFA1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1437226"/>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Lst>
  <p:transition/>
  <p:hf sldNum="0" hdr="0" dt="0"/>
  <p:txStyles>
    <p:titleStyle>
      <a:lvl1pPr algn="l" rtl="0" eaLnBrk="0" fontAlgn="base" hangingPunct="0">
        <a:lnSpc>
          <a:spcPct val="90000"/>
        </a:lnSpc>
        <a:spcBef>
          <a:spcPct val="0"/>
        </a:spcBef>
        <a:spcAft>
          <a:spcPct val="0"/>
        </a:spcAft>
        <a:defRPr sz="8000" b="1">
          <a:solidFill>
            <a:srgbClr val="D9D9D9"/>
          </a:solidFill>
          <a:latin typeface="Arial" charset="0"/>
          <a:ea typeface="ヒラギノ角ゴ Pro W3" pitchFamily="97" charset="-128"/>
          <a:cs typeface="ヒラギノ角ゴ Pro W3" pitchFamily="97" charset="-128"/>
        </a:defRPr>
      </a:lvl1pPr>
      <a:lvl2pPr algn="l" rtl="0" eaLnBrk="0" fontAlgn="base" hangingPunct="0">
        <a:lnSpc>
          <a:spcPct val="90000"/>
        </a:lnSpc>
        <a:spcBef>
          <a:spcPct val="0"/>
        </a:spcBef>
        <a:spcAft>
          <a:spcPct val="0"/>
        </a:spcAft>
        <a:defRPr sz="8000" b="1">
          <a:solidFill>
            <a:srgbClr val="D9D9D9"/>
          </a:solidFill>
          <a:latin typeface="Arial" charset="0"/>
          <a:ea typeface="ヒラギノ角ゴ Pro W3" pitchFamily="97" charset="-128"/>
          <a:cs typeface="ヒラギノ角ゴ Pro W3" pitchFamily="97" charset="-128"/>
        </a:defRPr>
      </a:lvl2pPr>
      <a:lvl3pPr algn="l" rtl="0" eaLnBrk="0" fontAlgn="base" hangingPunct="0">
        <a:lnSpc>
          <a:spcPct val="90000"/>
        </a:lnSpc>
        <a:spcBef>
          <a:spcPct val="0"/>
        </a:spcBef>
        <a:spcAft>
          <a:spcPct val="0"/>
        </a:spcAft>
        <a:defRPr sz="8000" b="1">
          <a:solidFill>
            <a:srgbClr val="D9D9D9"/>
          </a:solidFill>
          <a:latin typeface="Arial" charset="0"/>
          <a:ea typeface="ヒラギノ角ゴ Pro W3" pitchFamily="97" charset="-128"/>
          <a:cs typeface="ヒラギノ角ゴ Pro W3" pitchFamily="97" charset="-128"/>
        </a:defRPr>
      </a:lvl3pPr>
      <a:lvl4pPr algn="l" rtl="0" eaLnBrk="0" fontAlgn="base" hangingPunct="0">
        <a:lnSpc>
          <a:spcPct val="90000"/>
        </a:lnSpc>
        <a:spcBef>
          <a:spcPct val="0"/>
        </a:spcBef>
        <a:spcAft>
          <a:spcPct val="0"/>
        </a:spcAft>
        <a:defRPr sz="8000" b="1">
          <a:solidFill>
            <a:srgbClr val="D9D9D9"/>
          </a:solidFill>
          <a:latin typeface="Arial" charset="0"/>
          <a:ea typeface="ヒラギノ角ゴ Pro W3" pitchFamily="97" charset="-128"/>
          <a:cs typeface="ヒラギノ角ゴ Pro W3" pitchFamily="97" charset="-128"/>
        </a:defRPr>
      </a:lvl4pPr>
      <a:lvl5pPr algn="l" rtl="0" eaLnBrk="0" fontAlgn="base" hangingPunct="0">
        <a:lnSpc>
          <a:spcPct val="90000"/>
        </a:lnSpc>
        <a:spcBef>
          <a:spcPct val="0"/>
        </a:spcBef>
        <a:spcAft>
          <a:spcPct val="0"/>
        </a:spcAft>
        <a:defRPr sz="8000" b="1">
          <a:solidFill>
            <a:srgbClr val="D9D9D9"/>
          </a:solidFill>
          <a:latin typeface="Arial" charset="0"/>
          <a:ea typeface="ヒラギノ角ゴ Pro W3" pitchFamily="97" charset="-128"/>
          <a:cs typeface="ヒラギノ角ゴ Pro W3" pitchFamily="97" charset="-128"/>
        </a:defRPr>
      </a:lvl5pPr>
      <a:lvl6pPr marL="456975" algn="l" rtl="0" fontAlgn="base">
        <a:lnSpc>
          <a:spcPct val="80000"/>
        </a:lnSpc>
        <a:spcBef>
          <a:spcPct val="0"/>
        </a:spcBef>
        <a:spcAft>
          <a:spcPct val="0"/>
        </a:spcAft>
        <a:defRPr sz="4800">
          <a:solidFill>
            <a:srgbClr val="FCB131"/>
          </a:solidFill>
          <a:latin typeface="Franklin Gothic Medium" pitchFamily="34" charset="0"/>
        </a:defRPr>
      </a:lvl6pPr>
      <a:lvl7pPr marL="913953" algn="l" rtl="0" fontAlgn="base">
        <a:lnSpc>
          <a:spcPct val="80000"/>
        </a:lnSpc>
        <a:spcBef>
          <a:spcPct val="0"/>
        </a:spcBef>
        <a:spcAft>
          <a:spcPct val="0"/>
        </a:spcAft>
        <a:defRPr sz="4800">
          <a:solidFill>
            <a:srgbClr val="FCB131"/>
          </a:solidFill>
          <a:latin typeface="Franklin Gothic Medium" pitchFamily="34" charset="0"/>
        </a:defRPr>
      </a:lvl7pPr>
      <a:lvl8pPr marL="1370930" algn="l" rtl="0" fontAlgn="base">
        <a:lnSpc>
          <a:spcPct val="80000"/>
        </a:lnSpc>
        <a:spcBef>
          <a:spcPct val="0"/>
        </a:spcBef>
        <a:spcAft>
          <a:spcPct val="0"/>
        </a:spcAft>
        <a:defRPr sz="4800">
          <a:solidFill>
            <a:srgbClr val="FCB131"/>
          </a:solidFill>
          <a:latin typeface="Franklin Gothic Medium" pitchFamily="34" charset="0"/>
        </a:defRPr>
      </a:lvl8pPr>
      <a:lvl9pPr marL="1827907" algn="l" rtl="0" fontAlgn="base">
        <a:lnSpc>
          <a:spcPct val="80000"/>
        </a:lnSpc>
        <a:spcBef>
          <a:spcPct val="0"/>
        </a:spcBef>
        <a:spcAft>
          <a:spcPct val="0"/>
        </a:spcAft>
        <a:defRPr sz="4800">
          <a:solidFill>
            <a:srgbClr val="FCB131"/>
          </a:solidFill>
          <a:latin typeface="Franklin Gothic Medium" pitchFamily="34" charset="0"/>
        </a:defRPr>
      </a:lvl9pPr>
    </p:titleStyle>
    <p:bodyStyle>
      <a:lvl1pPr marL="342732" indent="-342732"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pitchFamily="97" charset="-128"/>
        </a:defRPr>
      </a:lvl1pPr>
      <a:lvl2pPr marL="404616" indent="-176127"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2pPr>
      <a:lvl3pPr marL="747348" indent="-176127"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3pPr>
      <a:lvl4pPr marL="1090080" indent="-176127"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4pPr>
      <a:lvl5pPr marL="1432813" indent="-176127"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5pPr>
      <a:lvl6pPr marL="2284884" indent="-228490" algn="l" rtl="0" fontAlgn="base">
        <a:lnSpc>
          <a:spcPct val="90000"/>
        </a:lnSpc>
        <a:spcBef>
          <a:spcPct val="0"/>
        </a:spcBef>
        <a:spcAft>
          <a:spcPct val="0"/>
        </a:spcAft>
        <a:buChar char="»"/>
        <a:defRPr sz="2400">
          <a:solidFill>
            <a:srgbClr val="00A5D9"/>
          </a:solidFill>
          <a:latin typeface="+mn-lt"/>
        </a:defRPr>
      </a:lvl6pPr>
      <a:lvl7pPr marL="2741860" indent="-228490" algn="l" rtl="0" fontAlgn="base">
        <a:lnSpc>
          <a:spcPct val="90000"/>
        </a:lnSpc>
        <a:spcBef>
          <a:spcPct val="0"/>
        </a:spcBef>
        <a:spcAft>
          <a:spcPct val="0"/>
        </a:spcAft>
        <a:buChar char="»"/>
        <a:defRPr sz="2400">
          <a:solidFill>
            <a:srgbClr val="00A5D9"/>
          </a:solidFill>
          <a:latin typeface="+mn-lt"/>
        </a:defRPr>
      </a:lvl7pPr>
      <a:lvl8pPr marL="3198837" indent="-228490" algn="l" rtl="0" fontAlgn="base">
        <a:lnSpc>
          <a:spcPct val="90000"/>
        </a:lnSpc>
        <a:spcBef>
          <a:spcPct val="0"/>
        </a:spcBef>
        <a:spcAft>
          <a:spcPct val="0"/>
        </a:spcAft>
        <a:buChar char="»"/>
        <a:defRPr sz="2400">
          <a:solidFill>
            <a:srgbClr val="00A5D9"/>
          </a:solidFill>
          <a:latin typeface="+mn-lt"/>
        </a:defRPr>
      </a:lvl8pPr>
      <a:lvl9pPr marL="3655815" indent="-228490" algn="l" rtl="0" fontAlgn="base">
        <a:lnSpc>
          <a:spcPct val="90000"/>
        </a:lnSpc>
        <a:spcBef>
          <a:spcPct val="0"/>
        </a:spcBef>
        <a:spcAft>
          <a:spcPct val="0"/>
        </a:spcAft>
        <a:buChar char="»"/>
        <a:defRPr sz="2400">
          <a:solidFill>
            <a:srgbClr val="00A5D9"/>
          </a:solidFill>
          <a:latin typeface="+mn-lt"/>
        </a:defRPr>
      </a:lvl9pPr>
    </p:bodyStyle>
    <p:otherStyle>
      <a:defPPr>
        <a:defRPr lang="en-US"/>
      </a:defPPr>
      <a:lvl1pPr marL="0" algn="l" defTabSz="913953" rtl="0" eaLnBrk="1" latinLnBrk="0" hangingPunct="1">
        <a:defRPr sz="1800" kern="1200">
          <a:solidFill>
            <a:schemeClr val="tx1"/>
          </a:solidFill>
          <a:latin typeface="+mn-lt"/>
          <a:ea typeface="+mn-ea"/>
          <a:cs typeface="+mn-cs"/>
        </a:defRPr>
      </a:lvl1pPr>
      <a:lvl2pPr marL="456975" algn="l" defTabSz="913953" rtl="0" eaLnBrk="1" latinLnBrk="0" hangingPunct="1">
        <a:defRPr sz="1800" kern="1200">
          <a:solidFill>
            <a:schemeClr val="tx1"/>
          </a:solidFill>
          <a:latin typeface="+mn-lt"/>
          <a:ea typeface="+mn-ea"/>
          <a:cs typeface="+mn-cs"/>
        </a:defRPr>
      </a:lvl2pPr>
      <a:lvl3pPr marL="913953" algn="l" defTabSz="913953" rtl="0" eaLnBrk="1" latinLnBrk="0" hangingPunct="1">
        <a:defRPr sz="1800" kern="1200">
          <a:solidFill>
            <a:schemeClr val="tx1"/>
          </a:solidFill>
          <a:latin typeface="+mn-lt"/>
          <a:ea typeface="+mn-ea"/>
          <a:cs typeface="+mn-cs"/>
        </a:defRPr>
      </a:lvl3pPr>
      <a:lvl4pPr marL="1370930" algn="l" defTabSz="913953" rtl="0" eaLnBrk="1" latinLnBrk="0" hangingPunct="1">
        <a:defRPr sz="1800" kern="1200">
          <a:solidFill>
            <a:schemeClr val="tx1"/>
          </a:solidFill>
          <a:latin typeface="+mn-lt"/>
          <a:ea typeface="+mn-ea"/>
          <a:cs typeface="+mn-cs"/>
        </a:defRPr>
      </a:lvl4pPr>
      <a:lvl5pPr marL="1827907" algn="l" defTabSz="913953" rtl="0" eaLnBrk="1" latinLnBrk="0" hangingPunct="1">
        <a:defRPr sz="1800" kern="1200">
          <a:solidFill>
            <a:schemeClr val="tx1"/>
          </a:solidFill>
          <a:latin typeface="+mn-lt"/>
          <a:ea typeface="+mn-ea"/>
          <a:cs typeface="+mn-cs"/>
        </a:defRPr>
      </a:lvl5pPr>
      <a:lvl6pPr marL="2284884" algn="l" defTabSz="913953" rtl="0" eaLnBrk="1" latinLnBrk="0" hangingPunct="1">
        <a:defRPr sz="1800" kern="1200">
          <a:solidFill>
            <a:schemeClr val="tx1"/>
          </a:solidFill>
          <a:latin typeface="+mn-lt"/>
          <a:ea typeface="+mn-ea"/>
          <a:cs typeface="+mn-cs"/>
        </a:defRPr>
      </a:lvl6pPr>
      <a:lvl7pPr marL="2741860" algn="l" defTabSz="913953" rtl="0" eaLnBrk="1" latinLnBrk="0" hangingPunct="1">
        <a:defRPr sz="1800" kern="1200">
          <a:solidFill>
            <a:schemeClr val="tx1"/>
          </a:solidFill>
          <a:latin typeface="+mn-lt"/>
          <a:ea typeface="+mn-ea"/>
          <a:cs typeface="+mn-cs"/>
        </a:defRPr>
      </a:lvl7pPr>
      <a:lvl8pPr marL="3198837" algn="l" defTabSz="913953" rtl="0" eaLnBrk="1" latinLnBrk="0" hangingPunct="1">
        <a:defRPr sz="1800" kern="1200">
          <a:solidFill>
            <a:schemeClr val="tx1"/>
          </a:solidFill>
          <a:latin typeface="+mn-lt"/>
          <a:ea typeface="+mn-ea"/>
          <a:cs typeface="+mn-cs"/>
        </a:defRPr>
      </a:lvl8pPr>
      <a:lvl9pPr marL="3655815" algn="l" defTabSz="91395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541472" y="-4763"/>
            <a:ext cx="7450137"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625" numCol="1" anchor="b"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57200" y="1250958"/>
            <a:ext cx="82296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28" name="Group 8"/>
          <p:cNvGrpSpPr>
            <a:grpSpLocks/>
          </p:cNvGrpSpPr>
          <p:nvPr/>
        </p:nvGrpSpPr>
        <p:grpSpPr bwMode="auto">
          <a:xfrm>
            <a:off x="101601" y="104775"/>
            <a:ext cx="668338" cy="685800"/>
            <a:chOff x="18142" y="955"/>
            <a:chExt cx="2084" cy="2140"/>
          </a:xfrm>
        </p:grpSpPr>
        <p:sp>
          <p:nvSpPr>
            <p:cNvPr id="1032" name="Rectangle 9"/>
            <p:cNvSpPr>
              <a:spLocks noChangeArrowheads="1"/>
            </p:cNvSpPr>
            <p:nvPr/>
          </p:nvSpPr>
          <p:spPr bwMode="auto">
            <a:xfrm>
              <a:off x="18142" y="955"/>
              <a:ext cx="1871"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2689" eaLnBrk="0" fontAlgn="base" hangingPunct="0">
                <a:spcBef>
                  <a:spcPct val="0"/>
                </a:spcBef>
                <a:spcAft>
                  <a:spcPct val="0"/>
                </a:spcAft>
              </a:pPr>
              <a:endParaRPr lang="en-US" sz="1600">
                <a:solidFill>
                  <a:srgbClr val="333333"/>
                </a:solidFill>
                <a:ea typeface="Arial Unicode MS" pitchFamily="34" charset="-128"/>
                <a:cs typeface="Arial Unicode MS" pitchFamily="34" charset="-128"/>
              </a:endParaRPr>
            </a:p>
          </p:txBody>
        </p:sp>
        <p:sp>
          <p:nvSpPr>
            <p:cNvPr id="1033" name="Freeform 10"/>
            <p:cNvSpPr>
              <a:spLocks/>
            </p:cNvSpPr>
            <p:nvPr/>
          </p:nvSpPr>
          <p:spPr bwMode="auto">
            <a:xfrm>
              <a:off x="19102" y="2392"/>
              <a:ext cx="396" cy="619"/>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1 h 1238"/>
                <a:gd name="T76" fmla="*/ 1 w 790"/>
                <a:gd name="T77" fmla="*/ 1 h 1238"/>
                <a:gd name="T78" fmla="*/ 1 w 790"/>
                <a:gd name="T79" fmla="*/ 1 h 1238"/>
                <a:gd name="T80" fmla="*/ 1 w 790"/>
                <a:gd name="T81" fmla="*/ 1 h 1238"/>
                <a:gd name="T82" fmla="*/ 1 w 790"/>
                <a:gd name="T83" fmla="*/ 1 h 1238"/>
                <a:gd name="T84" fmla="*/ 1 w 790"/>
                <a:gd name="T85" fmla="*/ 1 h 1238"/>
                <a:gd name="T86" fmla="*/ 1 w 790"/>
                <a:gd name="T87" fmla="*/ 1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4" name="Freeform 11"/>
            <p:cNvSpPr>
              <a:spLocks/>
            </p:cNvSpPr>
            <p:nvPr/>
          </p:nvSpPr>
          <p:spPr bwMode="auto">
            <a:xfrm>
              <a:off x="19221" y="2738"/>
              <a:ext cx="168" cy="173"/>
            </a:xfrm>
            <a:custGeom>
              <a:avLst/>
              <a:gdLst>
                <a:gd name="T0" fmla="*/ 1 w 336"/>
                <a:gd name="T1" fmla="*/ 1 h 343"/>
                <a:gd name="T2" fmla="*/ 1 w 336"/>
                <a:gd name="T3" fmla="*/ 1 h 343"/>
                <a:gd name="T4" fmla="*/ 1 w 336"/>
                <a:gd name="T5" fmla="*/ 1 h 343"/>
                <a:gd name="T6" fmla="*/ 1 w 336"/>
                <a:gd name="T7" fmla="*/ 1 h 343"/>
                <a:gd name="T8" fmla="*/ 1 w 336"/>
                <a:gd name="T9" fmla="*/ 1 h 343"/>
                <a:gd name="T10" fmla="*/ 1 w 336"/>
                <a:gd name="T11" fmla="*/ 1 h 343"/>
                <a:gd name="T12" fmla="*/ 1 w 336"/>
                <a:gd name="T13" fmla="*/ 1 h 343"/>
                <a:gd name="T14" fmla="*/ 1 w 336"/>
                <a:gd name="T15" fmla="*/ 0 h 343"/>
                <a:gd name="T16" fmla="*/ 1 w 336"/>
                <a:gd name="T17" fmla="*/ 0 h 343"/>
                <a:gd name="T18" fmla="*/ 1 w 336"/>
                <a:gd name="T19" fmla="*/ 1 h 343"/>
                <a:gd name="T20" fmla="*/ 1 w 336"/>
                <a:gd name="T21" fmla="*/ 1 h 343"/>
                <a:gd name="T22" fmla="*/ 0 w 336"/>
                <a:gd name="T23" fmla="*/ 1 h 343"/>
                <a:gd name="T24" fmla="*/ 1 w 336"/>
                <a:gd name="T25" fmla="*/ 1 h 343"/>
                <a:gd name="T26" fmla="*/ 1 w 336"/>
                <a:gd name="T27" fmla="*/ 1 h 343"/>
                <a:gd name="T28" fmla="*/ 1 w 336"/>
                <a:gd name="T29" fmla="*/ 1 h 343"/>
                <a:gd name="T30" fmla="*/ 1 w 336"/>
                <a:gd name="T31" fmla="*/ 1 h 343"/>
                <a:gd name="T32" fmla="*/ 1 w 336"/>
                <a:gd name="T33" fmla="*/ 1 h 343"/>
                <a:gd name="T34" fmla="*/ 1 w 336"/>
                <a:gd name="T35" fmla="*/ 1 h 343"/>
                <a:gd name="T36" fmla="*/ 1 w 336"/>
                <a:gd name="T37" fmla="*/ 1 h 343"/>
                <a:gd name="T38" fmla="*/ 1 w 336"/>
                <a:gd name="T39" fmla="*/ 1 h 343"/>
                <a:gd name="T40" fmla="*/ 1 w 336"/>
                <a:gd name="T41" fmla="*/ 1 h 343"/>
                <a:gd name="T42" fmla="*/ 1 w 336"/>
                <a:gd name="T43" fmla="*/ 1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5" name="Freeform 12"/>
            <p:cNvSpPr>
              <a:spLocks/>
            </p:cNvSpPr>
            <p:nvPr/>
          </p:nvSpPr>
          <p:spPr bwMode="auto">
            <a:xfrm>
              <a:off x="19538" y="1039"/>
              <a:ext cx="391" cy="1977"/>
            </a:xfrm>
            <a:custGeom>
              <a:avLst/>
              <a:gdLst>
                <a:gd name="T0" fmla="*/ 0 w 785"/>
                <a:gd name="T1" fmla="*/ 0 h 3959"/>
                <a:gd name="T2" fmla="*/ 0 w 785"/>
                <a:gd name="T3" fmla="*/ 0 h 3959"/>
                <a:gd name="T4" fmla="*/ 0 w 785"/>
                <a:gd name="T5" fmla="*/ 0 h 3959"/>
                <a:gd name="T6" fmla="*/ 0 w 785"/>
                <a:gd name="T7" fmla="*/ 0 h 3959"/>
                <a:gd name="T8" fmla="*/ 0 w 785"/>
                <a:gd name="T9" fmla="*/ 0 h 3959"/>
                <a:gd name="T10" fmla="*/ 0 w 785"/>
                <a:gd name="T11" fmla="*/ 0 h 3959"/>
                <a:gd name="T12" fmla="*/ 0 w 785"/>
                <a:gd name="T13" fmla="*/ 0 h 3959"/>
                <a:gd name="T14" fmla="*/ 0 w 785"/>
                <a:gd name="T15" fmla="*/ 0 h 3959"/>
                <a:gd name="T16" fmla="*/ 0 w 785"/>
                <a:gd name="T17" fmla="*/ 0 h 3959"/>
                <a:gd name="T18" fmla="*/ 0 w 785"/>
                <a:gd name="T19" fmla="*/ 0 h 3959"/>
                <a:gd name="T20" fmla="*/ 0 w 785"/>
                <a:gd name="T21" fmla="*/ 0 h 3959"/>
                <a:gd name="T22" fmla="*/ 0 w 785"/>
                <a:gd name="T23" fmla="*/ 0 h 3959"/>
                <a:gd name="T24" fmla="*/ 0 w 785"/>
                <a:gd name="T25" fmla="*/ 0 h 3959"/>
                <a:gd name="T26" fmla="*/ 0 w 785"/>
                <a:gd name="T27" fmla="*/ 0 h 3959"/>
                <a:gd name="T28" fmla="*/ 0 w 785"/>
                <a:gd name="T29" fmla="*/ 0 h 3959"/>
                <a:gd name="T30" fmla="*/ 0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6" name="Freeform 13"/>
            <p:cNvSpPr>
              <a:spLocks/>
            </p:cNvSpPr>
            <p:nvPr/>
          </p:nvSpPr>
          <p:spPr bwMode="auto">
            <a:xfrm>
              <a:off x="18424" y="2397"/>
              <a:ext cx="74" cy="218"/>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0 w 152"/>
                <a:gd name="T17" fmla="*/ 1 h 435"/>
                <a:gd name="T18" fmla="*/ 0 w 152"/>
                <a:gd name="T19" fmla="*/ 1 h 435"/>
                <a:gd name="T20" fmla="*/ 0 w 152"/>
                <a:gd name="T21" fmla="*/ 1 h 435"/>
                <a:gd name="T22" fmla="*/ 0 w 152"/>
                <a:gd name="T23" fmla="*/ 1 h 435"/>
                <a:gd name="T24" fmla="*/ 0 w 152"/>
                <a:gd name="T25" fmla="*/ 1 h 435"/>
                <a:gd name="T26" fmla="*/ 0 w 152"/>
                <a:gd name="T27" fmla="*/ 1 h 435"/>
                <a:gd name="T28" fmla="*/ 0 w 152"/>
                <a:gd name="T29" fmla="*/ 1 h 435"/>
                <a:gd name="T30" fmla="*/ 0 w 152"/>
                <a:gd name="T31" fmla="*/ 1 h 435"/>
                <a:gd name="T32" fmla="*/ 0 w 152"/>
                <a:gd name="T33" fmla="*/ 1 h 435"/>
                <a:gd name="T34" fmla="*/ 0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7" name="Freeform 14"/>
            <p:cNvSpPr>
              <a:spLocks/>
            </p:cNvSpPr>
            <p:nvPr/>
          </p:nvSpPr>
          <p:spPr bwMode="auto">
            <a:xfrm>
              <a:off x="18221" y="1039"/>
              <a:ext cx="1307" cy="1977"/>
            </a:xfrm>
            <a:custGeom>
              <a:avLst/>
              <a:gdLst>
                <a:gd name="T0" fmla="*/ 0 w 2616"/>
                <a:gd name="T1" fmla="*/ 0 h 3962"/>
                <a:gd name="T2" fmla="*/ 0 w 2616"/>
                <a:gd name="T3" fmla="*/ 0 h 3962"/>
                <a:gd name="T4" fmla="*/ 0 w 2616"/>
                <a:gd name="T5" fmla="*/ 0 h 3962"/>
                <a:gd name="T6" fmla="*/ 0 w 2616"/>
                <a:gd name="T7" fmla="*/ 0 h 3962"/>
                <a:gd name="T8" fmla="*/ 0 w 2616"/>
                <a:gd name="T9" fmla="*/ 0 h 3962"/>
                <a:gd name="T10" fmla="*/ 0 w 2616"/>
                <a:gd name="T11" fmla="*/ 0 h 3962"/>
                <a:gd name="T12" fmla="*/ 0 w 2616"/>
                <a:gd name="T13" fmla="*/ 0 h 3962"/>
                <a:gd name="T14" fmla="*/ 0 w 2616"/>
                <a:gd name="T15" fmla="*/ 0 h 3962"/>
                <a:gd name="T16" fmla="*/ 0 w 2616"/>
                <a:gd name="T17" fmla="*/ 0 h 3962"/>
                <a:gd name="T18" fmla="*/ 0 w 2616"/>
                <a:gd name="T19" fmla="*/ 0 h 3962"/>
                <a:gd name="T20" fmla="*/ 0 w 2616"/>
                <a:gd name="T21" fmla="*/ 0 h 3962"/>
                <a:gd name="T22" fmla="*/ 0 w 2616"/>
                <a:gd name="T23" fmla="*/ 0 h 3962"/>
                <a:gd name="T24" fmla="*/ 0 w 2616"/>
                <a:gd name="T25" fmla="*/ 0 h 3962"/>
                <a:gd name="T26" fmla="*/ 0 w 2616"/>
                <a:gd name="T27" fmla="*/ 0 h 3962"/>
                <a:gd name="T28" fmla="*/ 0 w 2616"/>
                <a:gd name="T29" fmla="*/ 0 h 3962"/>
                <a:gd name="T30" fmla="*/ 0 w 2616"/>
                <a:gd name="T31" fmla="*/ 0 h 3962"/>
                <a:gd name="T32" fmla="*/ 0 w 2616"/>
                <a:gd name="T33" fmla="*/ 0 h 3962"/>
                <a:gd name="T34" fmla="*/ 0 w 2616"/>
                <a:gd name="T35" fmla="*/ 0 h 3962"/>
                <a:gd name="T36" fmla="*/ 0 w 2616"/>
                <a:gd name="T37" fmla="*/ 0 h 3962"/>
                <a:gd name="T38" fmla="*/ 0 w 2616"/>
                <a:gd name="T39" fmla="*/ 0 h 3962"/>
                <a:gd name="T40" fmla="*/ 0 w 2616"/>
                <a:gd name="T41" fmla="*/ 0 h 3962"/>
                <a:gd name="T42" fmla="*/ 0 w 2616"/>
                <a:gd name="T43" fmla="*/ 0 h 3962"/>
                <a:gd name="T44" fmla="*/ 0 w 2616"/>
                <a:gd name="T45" fmla="*/ 0 h 3962"/>
                <a:gd name="T46" fmla="*/ 0 w 2616"/>
                <a:gd name="T47" fmla="*/ 0 h 3962"/>
                <a:gd name="T48" fmla="*/ 0 w 2616"/>
                <a:gd name="T49" fmla="*/ 0 h 3962"/>
                <a:gd name="T50" fmla="*/ 0 w 2616"/>
                <a:gd name="T51" fmla="*/ 0 h 3962"/>
                <a:gd name="T52" fmla="*/ 0 w 2616"/>
                <a:gd name="T53" fmla="*/ 0 h 3962"/>
                <a:gd name="T54" fmla="*/ 0 w 2616"/>
                <a:gd name="T55" fmla="*/ 0 h 3962"/>
                <a:gd name="T56" fmla="*/ 0 w 2616"/>
                <a:gd name="T57" fmla="*/ 0 h 3962"/>
                <a:gd name="T58" fmla="*/ 0 w 2616"/>
                <a:gd name="T59" fmla="*/ 0 h 3962"/>
                <a:gd name="T60" fmla="*/ 0 w 2616"/>
                <a:gd name="T61" fmla="*/ 0 h 3962"/>
                <a:gd name="T62" fmla="*/ 0 w 2616"/>
                <a:gd name="T63" fmla="*/ 0 h 3962"/>
                <a:gd name="T64" fmla="*/ 0 w 2616"/>
                <a:gd name="T65" fmla="*/ 0 h 3962"/>
                <a:gd name="T66" fmla="*/ 0 w 2616"/>
                <a:gd name="T67" fmla="*/ 0 h 3962"/>
                <a:gd name="T68" fmla="*/ 0 w 2616"/>
                <a:gd name="T69" fmla="*/ 0 h 3962"/>
                <a:gd name="T70" fmla="*/ 0 w 2616"/>
                <a:gd name="T71" fmla="*/ 0 h 3962"/>
                <a:gd name="T72" fmla="*/ 0 w 2616"/>
                <a:gd name="T73" fmla="*/ 0 h 3962"/>
                <a:gd name="T74" fmla="*/ 0 w 2616"/>
                <a:gd name="T75" fmla="*/ 0 h 3962"/>
                <a:gd name="T76" fmla="*/ 0 w 2616"/>
                <a:gd name="T77" fmla="*/ 0 h 3962"/>
                <a:gd name="T78" fmla="*/ 0 w 2616"/>
                <a:gd name="T79" fmla="*/ 0 h 3962"/>
                <a:gd name="T80" fmla="*/ 0 w 2616"/>
                <a:gd name="T81" fmla="*/ 0 h 3962"/>
                <a:gd name="T82" fmla="*/ 0 w 2616"/>
                <a:gd name="T83" fmla="*/ 0 h 3962"/>
                <a:gd name="T84" fmla="*/ 0 w 2616"/>
                <a:gd name="T85" fmla="*/ 0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sp>
          <p:nvSpPr>
            <p:cNvPr id="1038" name="Freeform 15"/>
            <p:cNvSpPr>
              <a:spLocks noEditPoints="1"/>
            </p:cNvSpPr>
            <p:nvPr/>
          </p:nvSpPr>
          <p:spPr bwMode="auto">
            <a:xfrm>
              <a:off x="19993" y="1044"/>
              <a:ext cx="233" cy="233"/>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2689" fontAlgn="base">
                <a:spcBef>
                  <a:spcPct val="0"/>
                </a:spcBef>
                <a:spcAft>
                  <a:spcPct val="0"/>
                </a:spcAft>
              </a:pPr>
              <a:endParaRPr lang="en-US" sz="1200">
                <a:solidFill>
                  <a:prstClr val="black"/>
                </a:solidFill>
                <a:latin typeface="Calibri" pitchFamily="34" charset="0"/>
              </a:endParaRPr>
            </a:p>
          </p:txBody>
        </p:sp>
      </p:grpSp>
      <p:sp>
        <p:nvSpPr>
          <p:cNvPr id="1029" name="Line 2"/>
          <p:cNvSpPr>
            <a:spLocks noChangeShapeType="1"/>
          </p:cNvSpPr>
          <p:nvPr/>
        </p:nvSpPr>
        <p:spPr bwMode="auto">
          <a:xfrm>
            <a:off x="8" y="881063"/>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268" tIns="45634" rIns="91268" bIns="45634" anchor="ctr"/>
          <a:lstStyle/>
          <a:p>
            <a:pPr defTabSz="912689" fontAlgn="base">
              <a:spcBef>
                <a:spcPct val="0"/>
              </a:spcBef>
              <a:spcAft>
                <a:spcPct val="0"/>
              </a:spcAft>
            </a:pPr>
            <a:endParaRPr lang="en-US" sz="1200">
              <a:solidFill>
                <a:prstClr val="black"/>
              </a:solidFill>
              <a:latin typeface="Calibri" pitchFamily="34" charset="0"/>
            </a:endParaRPr>
          </a:p>
        </p:txBody>
      </p:sp>
      <p:sp>
        <p:nvSpPr>
          <p:cNvPr id="32" name="TextBox 31"/>
          <p:cNvSpPr txBox="1"/>
          <p:nvPr/>
        </p:nvSpPr>
        <p:spPr>
          <a:xfrm>
            <a:off x="8540750" y="6588146"/>
            <a:ext cx="609600" cy="250203"/>
          </a:xfrm>
          <a:prstGeom prst="rect">
            <a:avLst/>
          </a:prstGeom>
          <a:noFill/>
        </p:spPr>
        <p:txBody>
          <a:bodyPr lIns="91268" tIns="45634" rIns="91268" bIns="45634">
            <a:spAutoFit/>
          </a:bodyPr>
          <a:lstStyle>
            <a:lvl1pPr eaLnBrk="0" hangingPunct="0">
              <a:defRPr sz="1600">
                <a:solidFill>
                  <a:srgbClr val="333333"/>
                </a:solidFill>
                <a:latin typeface="Arial" charset="0"/>
                <a:ea typeface="Arial Unicode MS" pitchFamily="34" charset="-128"/>
                <a:cs typeface="Arial Unicode MS" pitchFamily="34" charset="-128"/>
              </a:defRPr>
            </a:lvl1pPr>
            <a:lvl2pPr marL="742950" indent="-285750" eaLnBrk="0" hangingPunct="0">
              <a:defRPr sz="1600">
                <a:solidFill>
                  <a:srgbClr val="333333"/>
                </a:solidFill>
                <a:latin typeface="Arial" charset="0"/>
                <a:ea typeface="Arial Unicode MS" pitchFamily="34" charset="-128"/>
                <a:cs typeface="Arial Unicode MS" pitchFamily="34" charset="-128"/>
              </a:defRPr>
            </a:lvl2pPr>
            <a:lvl3pPr marL="1143000" indent="-228600" eaLnBrk="0" hangingPunct="0">
              <a:defRPr sz="1600">
                <a:solidFill>
                  <a:srgbClr val="333333"/>
                </a:solidFill>
                <a:latin typeface="Arial" charset="0"/>
                <a:ea typeface="Arial Unicode MS" pitchFamily="34" charset="-128"/>
                <a:cs typeface="Arial Unicode MS" pitchFamily="34" charset="-128"/>
              </a:defRPr>
            </a:lvl3pPr>
            <a:lvl4pPr marL="1600200" indent="-228600" eaLnBrk="0" hangingPunct="0">
              <a:defRPr sz="1600">
                <a:solidFill>
                  <a:srgbClr val="333333"/>
                </a:solidFill>
                <a:latin typeface="Arial" charset="0"/>
                <a:ea typeface="Arial Unicode MS" pitchFamily="34" charset="-128"/>
                <a:cs typeface="Arial Unicode MS" pitchFamily="34" charset="-128"/>
              </a:defRPr>
            </a:lvl4pPr>
            <a:lvl5pPr marL="2057400" indent="-228600" eaLnBrk="0" hangingPunct="0">
              <a:defRPr sz="1600">
                <a:solidFill>
                  <a:srgbClr val="333333"/>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1600">
                <a:solidFill>
                  <a:srgbClr val="333333"/>
                </a:solidFill>
                <a:latin typeface="Arial" charset="0"/>
                <a:ea typeface="Arial Unicode MS" pitchFamily="34" charset="-128"/>
                <a:cs typeface="Arial Unicode MS" pitchFamily="34" charset="-128"/>
              </a:defRPr>
            </a:lvl9pPr>
          </a:lstStyle>
          <a:p>
            <a:pPr algn="r" defTabSz="912689" fontAlgn="base">
              <a:spcBef>
                <a:spcPct val="0"/>
              </a:spcBef>
              <a:spcAft>
                <a:spcPct val="0"/>
              </a:spcAft>
              <a:defRPr/>
            </a:pPr>
            <a:fld id="{3DB9886C-FA14-4F8F-98AE-33BE7DDA4D96}" type="slidenum">
              <a:rPr lang="en-US" sz="1000" smtClean="0"/>
              <a:pPr algn="r" defTabSz="912689" fontAlgn="base">
                <a:spcBef>
                  <a:spcPct val="0"/>
                </a:spcBef>
                <a:spcAft>
                  <a:spcPct val="0"/>
                </a:spcAft>
                <a:defRPr/>
              </a:pPr>
              <a:t>‹#›</a:t>
            </a:fld>
            <a:endParaRPr lang="en-US" sz="1000"/>
          </a:p>
        </p:txBody>
      </p:sp>
    </p:spTree>
    <p:extLst>
      <p:ext uri="{BB962C8B-B14F-4D97-AF65-F5344CB8AC3E}">
        <p14:creationId xmlns:p14="http://schemas.microsoft.com/office/powerpoint/2010/main" val="1218929623"/>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70" r:id="rId6"/>
    <p:sldLayoutId id="2147483748" r:id="rId7"/>
  </p:sldLayoutIdLst>
  <p:hf sldNum="0" hdr="0" ftr="0" dt="0"/>
  <p:txStyles>
    <p:titleStyle>
      <a:lvl1pPr algn="r" rtl="0" eaLnBrk="0" fontAlgn="base" hangingPunct="0">
        <a:spcBef>
          <a:spcPct val="0"/>
        </a:spcBef>
        <a:spcAft>
          <a:spcPct val="0"/>
        </a:spcAft>
        <a:defRPr sz="2400" b="1">
          <a:solidFill>
            <a:schemeClr val="accent1">
              <a:lumMod val="75000"/>
            </a:schemeClr>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6344"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2689"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69030"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5379" algn="l" rtl="0" eaLnBrk="1" fontAlgn="base" hangingPunct="1">
        <a:spcBef>
          <a:spcPct val="0"/>
        </a:spcBef>
        <a:spcAft>
          <a:spcPct val="0"/>
        </a:spcAft>
        <a:defRPr sz="2400" b="1">
          <a:solidFill>
            <a:srgbClr val="5B7893"/>
          </a:solidFill>
          <a:latin typeface="Arial" charset="0"/>
          <a:ea typeface="ＭＳ Ｐゴシック" pitchFamily="1" charset="-128"/>
        </a:defRPr>
      </a:lvl9pPr>
    </p:titleStyle>
    <p:bodyStyle>
      <a:lvl1pPr marL="342259" indent="-342259" algn="l" rtl="0" eaLnBrk="0" fontAlgn="base" hangingPunct="0">
        <a:spcBef>
          <a:spcPct val="25000"/>
        </a:spcBef>
        <a:spcAft>
          <a:spcPct val="20000"/>
        </a:spcAft>
        <a:defRPr b="1">
          <a:solidFill>
            <a:srgbClr val="333333"/>
          </a:solidFill>
          <a:latin typeface="+mn-lt"/>
          <a:ea typeface="+mn-ea"/>
          <a:cs typeface="+mn-cs"/>
        </a:defRPr>
      </a:lvl1pPr>
      <a:lvl2pPr marL="285215" indent="-171129" algn="l" rtl="0" eaLnBrk="0" fontAlgn="base" hangingPunct="0">
        <a:spcBef>
          <a:spcPct val="25000"/>
        </a:spcBef>
        <a:spcAft>
          <a:spcPct val="20000"/>
        </a:spcAft>
        <a:buClr>
          <a:srgbClr val="006699"/>
        </a:buClr>
        <a:buSzPct val="100000"/>
        <a:buFont typeface="Arial" charset="0"/>
        <a:buChar char="•"/>
        <a:defRPr sz="1600">
          <a:solidFill>
            <a:srgbClr val="333333"/>
          </a:solidFill>
          <a:latin typeface="+mn-lt"/>
          <a:ea typeface="+mn-ea"/>
        </a:defRPr>
      </a:lvl2pPr>
      <a:lvl3pPr marL="573599" indent="-174295" algn="l" rtl="0" eaLnBrk="0" fontAlgn="base" hangingPunct="0">
        <a:spcBef>
          <a:spcPct val="25000"/>
        </a:spcBef>
        <a:spcAft>
          <a:spcPct val="20000"/>
        </a:spcAft>
        <a:buClr>
          <a:srgbClr val="006699"/>
        </a:buClr>
        <a:buFont typeface="Symbol" pitchFamily="18" charset="2"/>
        <a:buChar char=""/>
        <a:defRPr sz="1400">
          <a:solidFill>
            <a:srgbClr val="333333"/>
          </a:solidFill>
          <a:latin typeface="+mn-lt"/>
          <a:ea typeface="+mn-ea"/>
        </a:defRPr>
      </a:lvl3pPr>
      <a:lvl4pPr marL="854066" indent="-166376" algn="l" rtl="0" eaLnBrk="0" fontAlgn="base" hangingPunct="0">
        <a:spcBef>
          <a:spcPct val="25000"/>
        </a:spcBef>
        <a:spcAft>
          <a:spcPct val="20000"/>
        </a:spcAft>
        <a:buClr>
          <a:srgbClr val="006699"/>
        </a:buClr>
        <a:buSzPct val="100000"/>
        <a:buFont typeface="Arial" charset="0"/>
        <a:buChar char="•"/>
        <a:defRPr sz="1200">
          <a:solidFill>
            <a:srgbClr val="333333"/>
          </a:solidFill>
          <a:latin typeface="+mn-lt"/>
          <a:ea typeface="+mn-ea"/>
        </a:defRPr>
      </a:lvl4pPr>
      <a:lvl5pPr marL="1140861" indent="-172712" algn="l" rtl="0" eaLnBrk="0" fontAlgn="base" hangingPunct="0">
        <a:spcBef>
          <a:spcPct val="25000"/>
        </a:spcBef>
        <a:spcAft>
          <a:spcPct val="20000"/>
        </a:spcAft>
        <a:buClr>
          <a:srgbClr val="006699"/>
        </a:buClr>
        <a:buFont typeface="Symbol" pitchFamily="18" charset="2"/>
        <a:buChar char=""/>
        <a:defRPr sz="1000">
          <a:solidFill>
            <a:srgbClr val="333333"/>
          </a:solidFill>
          <a:latin typeface="+mn-lt"/>
          <a:ea typeface="+mn-ea"/>
        </a:defRPr>
      </a:lvl5pPr>
      <a:lvl6pPr marL="1597210"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6pPr>
      <a:lvl7pPr marL="2053552"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7pPr>
      <a:lvl8pPr marL="2509899"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8pPr>
      <a:lvl9pPr marL="2966246" indent="-172712"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9pPr>
    </p:bodyStyle>
    <p:otherStyle>
      <a:defPPr>
        <a:defRPr lang="en-US"/>
      </a:defPPr>
      <a:lvl1pPr marL="0" algn="l" defTabSz="912689" rtl="0" eaLnBrk="1" latinLnBrk="0" hangingPunct="1">
        <a:defRPr sz="1800" kern="1200">
          <a:solidFill>
            <a:schemeClr val="tx1"/>
          </a:solidFill>
          <a:latin typeface="+mn-lt"/>
          <a:ea typeface="+mn-ea"/>
          <a:cs typeface="+mn-cs"/>
        </a:defRPr>
      </a:lvl1pPr>
      <a:lvl2pPr marL="456344" algn="l" defTabSz="912689" rtl="0" eaLnBrk="1" latinLnBrk="0" hangingPunct="1">
        <a:defRPr sz="1800" kern="1200">
          <a:solidFill>
            <a:schemeClr val="tx1"/>
          </a:solidFill>
          <a:latin typeface="+mn-lt"/>
          <a:ea typeface="+mn-ea"/>
          <a:cs typeface="+mn-cs"/>
        </a:defRPr>
      </a:lvl2pPr>
      <a:lvl3pPr marL="912689" algn="l" defTabSz="912689" rtl="0" eaLnBrk="1" latinLnBrk="0" hangingPunct="1">
        <a:defRPr sz="1800" kern="1200">
          <a:solidFill>
            <a:schemeClr val="tx1"/>
          </a:solidFill>
          <a:latin typeface="+mn-lt"/>
          <a:ea typeface="+mn-ea"/>
          <a:cs typeface="+mn-cs"/>
        </a:defRPr>
      </a:lvl3pPr>
      <a:lvl4pPr marL="1369030" algn="l" defTabSz="912689" rtl="0" eaLnBrk="1" latinLnBrk="0" hangingPunct="1">
        <a:defRPr sz="1800" kern="1200">
          <a:solidFill>
            <a:schemeClr val="tx1"/>
          </a:solidFill>
          <a:latin typeface="+mn-lt"/>
          <a:ea typeface="+mn-ea"/>
          <a:cs typeface="+mn-cs"/>
        </a:defRPr>
      </a:lvl4pPr>
      <a:lvl5pPr marL="1825379" algn="l" defTabSz="912689" rtl="0" eaLnBrk="1" latinLnBrk="0" hangingPunct="1">
        <a:defRPr sz="1800" kern="1200">
          <a:solidFill>
            <a:schemeClr val="tx1"/>
          </a:solidFill>
          <a:latin typeface="+mn-lt"/>
          <a:ea typeface="+mn-ea"/>
          <a:cs typeface="+mn-cs"/>
        </a:defRPr>
      </a:lvl5pPr>
      <a:lvl6pPr marL="2281726" algn="l" defTabSz="912689" rtl="0" eaLnBrk="1" latinLnBrk="0" hangingPunct="1">
        <a:defRPr sz="1800" kern="1200">
          <a:solidFill>
            <a:schemeClr val="tx1"/>
          </a:solidFill>
          <a:latin typeface="+mn-lt"/>
          <a:ea typeface="+mn-ea"/>
          <a:cs typeface="+mn-cs"/>
        </a:defRPr>
      </a:lvl6pPr>
      <a:lvl7pPr marL="2738067" algn="l" defTabSz="912689" rtl="0" eaLnBrk="1" latinLnBrk="0" hangingPunct="1">
        <a:defRPr sz="1800" kern="1200">
          <a:solidFill>
            <a:schemeClr val="tx1"/>
          </a:solidFill>
          <a:latin typeface="+mn-lt"/>
          <a:ea typeface="+mn-ea"/>
          <a:cs typeface="+mn-cs"/>
        </a:defRPr>
      </a:lvl7pPr>
      <a:lvl8pPr marL="3194416" algn="l" defTabSz="912689" rtl="0" eaLnBrk="1" latinLnBrk="0" hangingPunct="1">
        <a:defRPr sz="1800" kern="1200">
          <a:solidFill>
            <a:schemeClr val="tx1"/>
          </a:solidFill>
          <a:latin typeface="+mn-lt"/>
          <a:ea typeface="+mn-ea"/>
          <a:cs typeface="+mn-cs"/>
        </a:defRPr>
      </a:lvl8pPr>
      <a:lvl9pPr marL="3650762" algn="l" defTabSz="912689"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062C7A-D260-4309-B790-45EE00357471}"/>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663E03B-6DD3-4A1E-87F5-EEDAFB7E8B7D}"/>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D6C19D-D27D-4841-A3D7-783CE0AB2862}"/>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ADD8E8-85FB-48F2-918D-859897887B0D}" type="datetimeFigureOut">
              <a:rPr lang="en-US" smtClean="0"/>
              <a:t>2/26/2021</a:t>
            </a:fld>
            <a:endParaRPr lang="en-US"/>
          </a:p>
        </p:txBody>
      </p:sp>
      <p:sp>
        <p:nvSpPr>
          <p:cNvPr id="5" name="Footer Placeholder 4">
            <a:extLst>
              <a:ext uri="{FF2B5EF4-FFF2-40B4-BE49-F238E27FC236}">
                <a16:creationId xmlns:a16="http://schemas.microsoft.com/office/drawing/2014/main" id="{60ED74BE-FF72-4EA1-BF37-55DC73A6DD26}"/>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4E46056-65D0-4D6A-A90B-0E3AA2B014AA}"/>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986B82-2271-417D-85C4-D39228C55C7B}" type="slidenum">
              <a:rPr lang="en-US" smtClean="0"/>
              <a:t>‹#›</a:t>
            </a:fld>
            <a:endParaRPr lang="en-US"/>
          </a:p>
        </p:txBody>
      </p:sp>
    </p:spTree>
    <p:extLst>
      <p:ext uri="{BB962C8B-B14F-4D97-AF65-F5344CB8AC3E}">
        <p14:creationId xmlns:p14="http://schemas.microsoft.com/office/powerpoint/2010/main" val="1647026833"/>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6FC84A2F-6F29-4B92-A4A4-1EF35D4AB00A}"/>
              </a:ext>
            </a:extLst>
          </p:cNvPr>
          <p:cNvGraphicFramePr>
            <a:graphicFrameLocks noGrp="1"/>
          </p:cNvGraphicFramePr>
          <p:nvPr>
            <p:extLst>
              <p:ext uri="{D42A27DB-BD31-4B8C-83A1-F6EECF244321}">
                <p14:modId xmlns:p14="http://schemas.microsoft.com/office/powerpoint/2010/main" val="3942999186"/>
              </p:ext>
            </p:extLst>
          </p:nvPr>
        </p:nvGraphicFramePr>
        <p:xfrm>
          <a:off x="70905" y="602262"/>
          <a:ext cx="8996896" cy="3763998"/>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20000"/>
                    </a:ext>
                  </a:extLst>
                </a:gridCol>
                <a:gridCol w="4498448">
                  <a:extLst>
                    <a:ext uri="{9D8B030D-6E8A-4147-A177-3AD203B41FA5}">
                      <a16:colId xmlns:a16="http://schemas.microsoft.com/office/drawing/2014/main" val="20001"/>
                    </a:ext>
                  </a:extLst>
                </a:gridCol>
              </a:tblGrid>
              <a:tr h="289278">
                <a:tc>
                  <a:txBody>
                    <a:bodyPr/>
                    <a:lstStyle/>
                    <a:p>
                      <a:r>
                        <a:rPr lang="en-US" sz="1200" b="1" i="0" baseline="0">
                          <a:latin typeface="+mn-lt"/>
                        </a:rPr>
                        <a:t>Project Sponsor: Brandon Tolentino </a:t>
                      </a:r>
                    </a:p>
                  </a:txBody>
                  <a:tcPr/>
                </a:tc>
                <a:tc>
                  <a:txBody>
                    <a:bodyPr/>
                    <a:lstStyle/>
                    <a:p>
                      <a:r>
                        <a:rPr lang="en-US" sz="1200" b="1" i="0" baseline="0">
                          <a:latin typeface="+mn-lt"/>
                        </a:rPr>
                        <a:t>Project Lead: Jim Palma</a:t>
                      </a:r>
                    </a:p>
                  </a:txBody>
                  <a:tcPr/>
                </a:tc>
                <a:extLst>
                  <a:ext uri="{0D108BD9-81ED-4DB2-BD59-A6C34878D82A}">
                    <a16:rowId xmlns:a16="http://schemas.microsoft.com/office/drawing/2014/main" val="10000"/>
                  </a:ext>
                </a:extLst>
              </a:tr>
              <a:tr h="245886">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i="0" kern="1200" baseline="0">
                          <a:solidFill>
                            <a:schemeClr val="tx1"/>
                          </a:solidFill>
                          <a:latin typeface="+mn-lt"/>
                          <a:ea typeface="+mn-ea"/>
                          <a:cs typeface="+mn-cs"/>
                        </a:rPr>
                        <a:t>Project Objectiv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baseline="0">
                          <a:solidFill>
                            <a:schemeClr val="tx1"/>
                          </a:solidFill>
                          <a:latin typeface="+mn-lt"/>
                          <a:ea typeface="+mn-ea"/>
                          <a:cs typeface="+mn-cs"/>
                        </a:rPr>
                        <a:t>The goal of the Duct Bank Monitoring project is to empower System Operators to better balance circuit load and also prevent excessive duct bank planned cable temperatures due to circuit overloading, which could lead to premature, catastrophic cable failure. Having an accurate Duct Bank Monitoring Amperage Limit Estimation Model tool and real-time monitoring system for existing substation duct banks would allow for the avoidance of this overheating by providing the ability to manage circuit loading.</a:t>
                      </a:r>
                    </a:p>
                  </a:txBody>
                  <a:tcPr/>
                </a:tc>
                <a:tc hMerge="1">
                  <a:txBody>
                    <a:bodyPr/>
                    <a:lstStyle/>
                    <a:p>
                      <a:endParaRPr lang="en-US"/>
                    </a:p>
                  </a:txBody>
                  <a:tcPr/>
                </a:tc>
                <a:extLst>
                  <a:ext uri="{0D108BD9-81ED-4DB2-BD59-A6C34878D82A}">
                    <a16:rowId xmlns:a16="http://schemas.microsoft.com/office/drawing/2014/main" val="10001"/>
                  </a:ext>
                </a:extLst>
              </a:tr>
              <a:tr h="404989">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i="0" kern="1200" baseline="0">
                          <a:solidFill>
                            <a:schemeClr val="tx1"/>
                          </a:solidFill>
                          <a:latin typeface="+mn-lt"/>
                          <a:ea typeface="+mn-ea"/>
                          <a:cs typeface="+mn-cs"/>
                        </a:rPr>
                        <a:t>Concern/Gap Addressed:</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baseline="0">
                          <a:solidFill>
                            <a:schemeClr val="tx1"/>
                          </a:solidFill>
                          <a:latin typeface="+mn-lt"/>
                          <a:ea typeface="+mn-ea"/>
                          <a:cs typeface="+mn-cs"/>
                        </a:rPr>
                        <a:t>This project is aimed at strengthening and modernizing its electric grid. More specifically, this project will help demonstrate and ultimately enable the following technological capabiliti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a:solidFill>
                            <a:schemeClr val="tx1"/>
                          </a:solidFill>
                          <a:latin typeface="+mn-lt"/>
                          <a:ea typeface="+mn-ea"/>
                          <a:cs typeface="+mn-cs"/>
                        </a:rPr>
                        <a:t>Advance the Distribution Sensing &amp; Monitoring Capability by providing real-time monitoring and modeling capabilities of substation amperage and duct bank cable temperature which allows SCE to perform and formulate effective load management strategies to reduce wear on SCE grid asse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a:solidFill>
                            <a:schemeClr val="tx1"/>
                          </a:solidFill>
                          <a:latin typeface="+mn-lt"/>
                          <a:ea typeface="+mn-ea"/>
                          <a:cs typeface="+mn-cs"/>
                        </a:rPr>
                        <a:t>This project advances the Data Driven Decision-Making capability of providing tools and solutions to analyze substation, duct bank and cable data and deriving business value</a:t>
                      </a:r>
                      <a:r>
                        <a:rPr lang="en-US" sz="1000" b="1" i="0" kern="1200" baseline="0">
                          <a:solidFill>
                            <a:schemeClr val="tx1"/>
                          </a:solidFill>
                          <a:latin typeface="+mn-lt"/>
                          <a:ea typeface="+mn-ea"/>
                          <a:cs typeface="+mn-cs"/>
                        </a:rPr>
                        <a:t>.</a:t>
                      </a:r>
                    </a:p>
                  </a:txBody>
                  <a:tcPr/>
                </a:tc>
                <a:tc hMerge="1">
                  <a:txBody>
                    <a:bodyPr/>
                    <a:lstStyle/>
                    <a:p>
                      <a:endParaRPr lang="en-US"/>
                    </a:p>
                  </a:txBody>
                  <a:tcPr/>
                </a:tc>
                <a:extLst>
                  <a:ext uri="{0D108BD9-81ED-4DB2-BD59-A6C34878D82A}">
                    <a16:rowId xmlns:a16="http://schemas.microsoft.com/office/drawing/2014/main" val="10002"/>
                  </a:ext>
                </a:extLst>
              </a:tr>
              <a:tr h="256032">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i="0" kern="1200" baseline="0">
                          <a:solidFill>
                            <a:schemeClr val="tx1"/>
                          </a:solidFill>
                          <a:latin typeface="+mn-lt"/>
                          <a:ea typeface="+mn-ea"/>
                          <a:cs typeface="+mn-cs"/>
                        </a:rPr>
                        <a:t>Short Technology Descrip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baseline="0">
                          <a:solidFill>
                            <a:schemeClr val="tx1"/>
                          </a:solidFill>
                          <a:latin typeface="+mn-lt"/>
                          <a:ea typeface="+mn-ea"/>
                          <a:cs typeface="+mn-cs"/>
                        </a:rPr>
                        <a:t>The proposed system will have sensing, communications and computational modeling and analysis components. The key elements of the proposed system would include a preliminary lab modeling configuration (for preliminary validation) followed by a more representational operational configuration such as implementation in the GMS. </a:t>
                      </a:r>
                      <a:endParaRPr lang="en-US" sz="1000" b="0" i="0" baseline="0">
                        <a:solidFill>
                          <a:schemeClr val="tx1"/>
                        </a:solidFill>
                        <a:latin typeface="+mn-lt"/>
                      </a:endParaRPr>
                    </a:p>
                  </a:txBody>
                  <a:tcPr/>
                </a:tc>
                <a:tc hMerge="1">
                  <a:txBody>
                    <a:bodyPr/>
                    <a:lstStyle/>
                    <a:p>
                      <a:endParaRPr lang="en-US"/>
                    </a:p>
                  </a:txBody>
                  <a:tcPr/>
                </a:tc>
                <a:extLst>
                  <a:ext uri="{0D108BD9-81ED-4DB2-BD59-A6C34878D82A}">
                    <a16:rowId xmlns:a16="http://schemas.microsoft.com/office/drawing/2014/main" val="10003"/>
                  </a:ext>
                </a:extLst>
              </a:tr>
              <a:tr h="256032">
                <a:tc gridSpan="2">
                  <a: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100" b="1" i="0" baseline="0">
                          <a:solidFill>
                            <a:schemeClr val="tx1"/>
                          </a:solidFill>
                          <a:latin typeface="+mn-lt"/>
                        </a:rPr>
                        <a:t>Post-EPIC Path to Commercialization:</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000" b="0" i="0" baseline="0">
                          <a:solidFill>
                            <a:schemeClr val="tx1"/>
                          </a:solidFill>
                          <a:latin typeface="+mn-lt"/>
                        </a:rPr>
                        <a:t>If proven to be accurate, this real-time model will help validate or </a:t>
                      </a:r>
                      <a:r>
                        <a:rPr lang="en-US" sz="900" b="0" i="0" baseline="0">
                          <a:solidFill>
                            <a:schemeClr val="tx1"/>
                          </a:solidFill>
                          <a:latin typeface="+mn-lt"/>
                        </a:rPr>
                        <a:t>enhance</a:t>
                      </a:r>
                      <a:r>
                        <a:rPr lang="en-US" sz="1000" b="0" i="0" baseline="0">
                          <a:solidFill>
                            <a:schemeClr val="tx1"/>
                          </a:solidFill>
                          <a:latin typeface="+mn-lt"/>
                        </a:rPr>
                        <a:t> future cable ampacity modeling.</a:t>
                      </a:r>
                      <a:endParaRPr lang="en-US" sz="1000" b="1" i="0" baseline="0">
                        <a:solidFill>
                          <a:schemeClr val="tx1"/>
                        </a:solidFill>
                        <a:latin typeface="+mn-lt"/>
                      </a:endParaRPr>
                    </a:p>
                  </a:txBody>
                  <a:tcPr/>
                </a:tc>
                <a:tc hMerge="1">
                  <a:txBody>
                    <a:bodyPr/>
                    <a:lstStyle/>
                    <a:p>
                      <a:endParaRPr lang="en-US"/>
                    </a:p>
                  </a:txBody>
                  <a:tcPr/>
                </a:tc>
                <a:extLst>
                  <a:ext uri="{0D108BD9-81ED-4DB2-BD59-A6C34878D82A}">
                    <a16:rowId xmlns:a16="http://schemas.microsoft.com/office/drawing/2014/main" val="10004"/>
                  </a:ext>
                </a:extLst>
              </a:tr>
              <a:tr h="256032">
                <a:tc gridSpan="2">
                  <a: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100" b="1" i="0" kern="1200" baseline="0">
                          <a:solidFill>
                            <a:schemeClr val="tx1"/>
                          </a:solidFill>
                          <a:latin typeface="+mn-lt"/>
                          <a:ea typeface="+mn-ea"/>
                          <a:cs typeface="+mn-cs"/>
                        </a:rPr>
                        <a:t>Project Timeline: </a:t>
                      </a:r>
                      <a:r>
                        <a:rPr lang="en-US" sz="1000" b="0" i="0" kern="1200" baseline="0">
                          <a:solidFill>
                            <a:schemeClr val="tx1"/>
                          </a:solidFill>
                          <a:latin typeface="+mn-lt"/>
                          <a:ea typeface="+mn-ea"/>
                          <a:cs typeface="+mn-cs"/>
                        </a:rPr>
                        <a:t>Q3/2020 – Q4/2022</a:t>
                      </a:r>
                    </a:p>
                  </a:txBody>
                  <a:tcPr/>
                </a:tc>
                <a:tc hMerge="1">
                  <a:txBody>
                    <a:bodyPr/>
                    <a:lstStyle/>
                    <a:p>
                      <a:endParaRPr lang="en-US"/>
                    </a:p>
                  </a:txBody>
                  <a:tcPr/>
                </a:tc>
                <a:extLst>
                  <a:ext uri="{0D108BD9-81ED-4DB2-BD59-A6C34878D82A}">
                    <a16:rowId xmlns:a16="http://schemas.microsoft.com/office/drawing/2014/main" val="10005"/>
                  </a:ext>
                </a:extLst>
              </a:tr>
            </a:tbl>
          </a:graphicData>
        </a:graphic>
      </p:graphicFrame>
      <p:graphicFrame>
        <p:nvGraphicFramePr>
          <p:cNvPr id="3" name="Table 2">
            <a:extLst>
              <a:ext uri="{FF2B5EF4-FFF2-40B4-BE49-F238E27FC236}">
                <a16:creationId xmlns:a16="http://schemas.microsoft.com/office/drawing/2014/main" id="{6112DA83-15C9-46AA-924A-6D95F8E05329}"/>
              </a:ext>
            </a:extLst>
          </p:cNvPr>
          <p:cNvGraphicFramePr>
            <a:graphicFrameLocks noGrp="1"/>
          </p:cNvGraphicFramePr>
          <p:nvPr>
            <p:extLst>
              <p:ext uri="{D42A27DB-BD31-4B8C-83A1-F6EECF244321}">
                <p14:modId xmlns:p14="http://schemas.microsoft.com/office/powerpoint/2010/main" val="1914080073"/>
              </p:ext>
            </p:extLst>
          </p:nvPr>
        </p:nvGraphicFramePr>
        <p:xfrm>
          <a:off x="70905" y="5867400"/>
          <a:ext cx="8995896" cy="882308"/>
        </p:xfrm>
        <a:graphic>
          <a:graphicData uri="http://schemas.openxmlformats.org/drawingml/2006/table">
            <a:tbl>
              <a:tblPr bandRow="1">
                <a:tableStyleId>{17292A2E-F333-43FB-9621-5CBBE7FDCDCB}</a:tableStyleId>
              </a:tblPr>
              <a:tblGrid>
                <a:gridCol w="8995896">
                  <a:extLst>
                    <a:ext uri="{9D8B030D-6E8A-4147-A177-3AD203B41FA5}">
                      <a16:colId xmlns:a16="http://schemas.microsoft.com/office/drawing/2014/main" val="20000"/>
                    </a:ext>
                  </a:extLst>
                </a:gridCol>
              </a:tblGrid>
              <a:tr h="882308">
                <a:tc>
                  <a:txBody>
                    <a:bodyPr/>
                    <a:lstStyle/>
                    <a:p>
                      <a:pPr marL="0" marR="0" indent="0" algn="l" defTabSz="87119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baseline="0">
                          <a:solidFill>
                            <a:schemeClr val="tx1">
                              <a:lumMod val="50000"/>
                            </a:schemeClr>
                          </a:solidFill>
                        </a:rPr>
                        <a:t>Grid Strengthening &amp; Modernization and Operational &amp; Service Excellence</a:t>
                      </a:r>
                      <a:endParaRPr lang="en-US" sz="1000" b="0" i="0" baseline="0">
                        <a:latin typeface="+mn-lt"/>
                      </a:endParaRPr>
                    </a:p>
                    <a:p>
                      <a:pPr marL="171450" marR="0" indent="-171450" algn="l" defTabSz="8711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baseline="0">
                          <a:latin typeface="+mn-lt"/>
                        </a:rPr>
                        <a:t>Ab</a:t>
                      </a:r>
                      <a:r>
                        <a:rPr lang="en-US" sz="1000" kern="1200" baseline="0">
                          <a:solidFill>
                            <a:schemeClr val="tx1">
                              <a:lumMod val="50000"/>
                            </a:schemeClr>
                          </a:solidFill>
                        </a:rPr>
                        <a:t>ility of System Operators to temporarily exceed the historic circuit amperage limit in order to enhance real-time load management, without violating cable temperature ratings </a:t>
                      </a:r>
                    </a:p>
                    <a:p>
                      <a:pPr marL="171450" indent="-171450" algn="l">
                        <a:buFont typeface="Arial" panose="020B0604020202020204" pitchFamily="34" charset="0"/>
                        <a:buChar char="•"/>
                      </a:pPr>
                      <a:r>
                        <a:rPr lang="en-US" sz="1000" b="0" i="0" baseline="0">
                          <a:latin typeface="+mn-lt"/>
                        </a:rPr>
                        <a:t>Ability to get more utilization from the SCE Distribution network, deferring system upgrades</a:t>
                      </a:r>
                    </a:p>
                    <a:p>
                      <a:pPr marL="171450" indent="-171450" algn="l">
                        <a:buFont typeface="Arial" panose="020B0604020202020204" pitchFamily="34" charset="0"/>
                        <a:buChar char="•"/>
                      </a:pPr>
                      <a:r>
                        <a:rPr lang="en-US" sz="1000" b="0" i="0" baseline="0">
                          <a:latin typeface="+mn-lt"/>
                        </a:rPr>
                        <a:t>Reduce complex reconfiguration and switching operations presently used to balance load </a:t>
                      </a:r>
                      <a:endParaRPr lang="en-US" sz="1000" b="1" i="0" baseline="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4" name="Title 4">
            <a:extLst>
              <a:ext uri="{FF2B5EF4-FFF2-40B4-BE49-F238E27FC236}">
                <a16:creationId xmlns:a16="http://schemas.microsoft.com/office/drawing/2014/main" id="{FAFF01A8-5A7F-4C29-BC81-4A5268CE6792}"/>
              </a:ext>
            </a:extLst>
          </p:cNvPr>
          <p:cNvSpPr txBox="1">
            <a:spLocks/>
          </p:cNvSpPr>
          <p:nvPr/>
        </p:nvSpPr>
        <p:spPr bwMode="black">
          <a:xfrm>
            <a:off x="70906" y="152400"/>
            <a:ext cx="8082494"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lgn="l" rtl="0" eaLnBrk="0" fontAlgn="base" hangingPunct="0">
              <a:lnSpc>
                <a:spcPct val="85000"/>
              </a:lnSpc>
              <a:spcBef>
                <a:spcPct val="0"/>
              </a:spcBef>
              <a:spcAft>
                <a:spcPct val="0"/>
              </a:spcAft>
              <a:defRPr sz="20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2pPr>
            <a:lvl3pPr algn="l"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3pPr>
            <a:lvl4pPr algn="l"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4pPr>
            <a:lvl5pPr algn="l"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charset="0"/>
                <a:ea typeface="Arial Unicode MS" pitchFamily="34" charset="-128"/>
                <a:cs typeface="Arial Unicode MS" pitchFamily="34" charset="-128"/>
              </a:defRPr>
            </a:lvl9pPr>
          </a:lstStyle>
          <a:p>
            <a:r>
              <a:rPr lang="en-US" sz="2400" kern="0">
                <a:latin typeface="Arial Narrow" pitchFamily="34" charset="0"/>
              </a:rPr>
              <a:t>Next Generation Distribution Automation 3 - Duct Bank Monitoring</a:t>
            </a:r>
          </a:p>
        </p:txBody>
      </p:sp>
      <p:sp>
        <p:nvSpPr>
          <p:cNvPr id="5" name="TextBox 4">
            <a:extLst>
              <a:ext uri="{FF2B5EF4-FFF2-40B4-BE49-F238E27FC236}">
                <a16:creationId xmlns:a16="http://schemas.microsoft.com/office/drawing/2014/main" id="{DA26E194-3CB7-4242-8BF5-DAAB0BCEDE9F}"/>
              </a:ext>
            </a:extLst>
          </p:cNvPr>
          <p:cNvSpPr txBox="1"/>
          <p:nvPr/>
        </p:nvSpPr>
        <p:spPr>
          <a:xfrm>
            <a:off x="0" y="5598021"/>
            <a:ext cx="1354858" cy="276999"/>
          </a:xfrm>
          <a:prstGeom prst="rect">
            <a:avLst/>
          </a:prstGeom>
          <a:noFill/>
        </p:spPr>
        <p:txBody>
          <a:bodyPr wrap="none" rtlCol="0">
            <a:spAutoFit/>
          </a:bodyPr>
          <a:lstStyle/>
          <a:p>
            <a:r>
              <a:rPr lang="en-US" sz="1200" b="1">
                <a:solidFill>
                  <a:schemeClr val="accent1"/>
                </a:solidFill>
              </a:rPr>
              <a:t>Project Benefits</a:t>
            </a:r>
            <a:endParaRPr lang="en-US" sz="1200" b="1">
              <a:solidFill>
                <a:schemeClr val="accent1"/>
              </a:solidFill>
              <a:ea typeface="+mn-ea"/>
              <a:cs typeface="+mn-cs"/>
            </a:endParaRPr>
          </a:p>
        </p:txBody>
      </p:sp>
      <p:graphicFrame>
        <p:nvGraphicFramePr>
          <p:cNvPr id="6" name="Table 5">
            <a:extLst>
              <a:ext uri="{FF2B5EF4-FFF2-40B4-BE49-F238E27FC236}">
                <a16:creationId xmlns:a16="http://schemas.microsoft.com/office/drawing/2014/main" id="{818DE65F-4AC6-45BE-9C28-989502D20377}"/>
              </a:ext>
            </a:extLst>
          </p:cNvPr>
          <p:cNvGraphicFramePr>
            <a:graphicFrameLocks noGrp="1"/>
          </p:cNvGraphicFramePr>
          <p:nvPr>
            <p:extLst>
              <p:ext uri="{D42A27DB-BD31-4B8C-83A1-F6EECF244321}">
                <p14:modId xmlns:p14="http://schemas.microsoft.com/office/powerpoint/2010/main" val="641450683"/>
              </p:ext>
            </p:extLst>
          </p:nvPr>
        </p:nvGraphicFramePr>
        <p:xfrm>
          <a:off x="70905" y="4343400"/>
          <a:ext cx="8996895" cy="792480"/>
        </p:xfrm>
        <a:graphic>
          <a:graphicData uri="http://schemas.openxmlformats.org/drawingml/2006/table">
            <a:tbl>
              <a:tblPr firstRow="1" bandRow="1">
                <a:tableStyleId>{5C22544A-7EE6-4342-B048-85BDC9FD1C3A}</a:tableStyleId>
              </a:tblPr>
              <a:tblGrid>
                <a:gridCol w="2998965">
                  <a:extLst>
                    <a:ext uri="{9D8B030D-6E8A-4147-A177-3AD203B41FA5}">
                      <a16:colId xmlns:a16="http://schemas.microsoft.com/office/drawing/2014/main" val="20000"/>
                    </a:ext>
                  </a:extLst>
                </a:gridCol>
                <a:gridCol w="2998965">
                  <a:extLst>
                    <a:ext uri="{9D8B030D-6E8A-4147-A177-3AD203B41FA5}">
                      <a16:colId xmlns:a16="http://schemas.microsoft.com/office/drawing/2014/main" val="20001"/>
                    </a:ext>
                  </a:extLst>
                </a:gridCol>
                <a:gridCol w="2998965">
                  <a:extLst>
                    <a:ext uri="{9D8B030D-6E8A-4147-A177-3AD203B41FA5}">
                      <a16:colId xmlns:a16="http://schemas.microsoft.com/office/drawing/2014/main" val="20003"/>
                    </a:ext>
                  </a:extLst>
                </a:gridCol>
              </a:tblGrid>
              <a:tr h="256032">
                <a:tc gridSpan="3">
                  <a:txBody>
                    <a:bodyPr/>
                    <a:lstStyle/>
                    <a:p>
                      <a:pPr algn="ctr"/>
                      <a:r>
                        <a:rPr lang="en-US" sz="1200" b="1" i="0" kern="1200" baseline="0">
                          <a:solidFill>
                            <a:schemeClr val="lt1"/>
                          </a:solidFill>
                          <a:latin typeface="+mn-lt"/>
                          <a:ea typeface="+mn-ea"/>
                          <a:cs typeface="+mn-cs"/>
                        </a:rPr>
                        <a:t>Proposed Budget</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56032">
                <a:tc>
                  <a:txBody>
                    <a:bodyPr/>
                    <a:lstStyle/>
                    <a:p>
                      <a:pPr algn="ctr"/>
                      <a:r>
                        <a:rPr lang="en-US" sz="1100" b="0">
                          <a:latin typeface="+mn-lt"/>
                        </a:rPr>
                        <a:t>Internal Resources </a:t>
                      </a:r>
                    </a:p>
                  </a:txBody>
                  <a:tcPr/>
                </a:tc>
                <a:tc>
                  <a:txBody>
                    <a:bodyPr/>
                    <a:lstStyle/>
                    <a:p>
                      <a:pPr algn="ctr"/>
                      <a:r>
                        <a:rPr lang="en-US" sz="1100" b="0">
                          <a:latin typeface="+mn-lt"/>
                        </a:rPr>
                        <a:t>External Resources</a:t>
                      </a:r>
                    </a:p>
                  </a:txBody>
                  <a:tcPr/>
                </a:tc>
                <a:tc>
                  <a:txBody>
                    <a:bodyPr/>
                    <a:lstStyle/>
                    <a:p>
                      <a:pPr algn="ctr"/>
                      <a:r>
                        <a:rPr lang="en-US" sz="1100" b="1">
                          <a:latin typeface="+mn-lt"/>
                        </a:rPr>
                        <a:t>Total Budget</a:t>
                      </a:r>
                    </a:p>
                  </a:txBody>
                  <a:tcPr/>
                </a:tc>
                <a:extLst>
                  <a:ext uri="{0D108BD9-81ED-4DB2-BD59-A6C34878D82A}">
                    <a16:rowId xmlns:a16="http://schemas.microsoft.com/office/drawing/2014/main" val="10001"/>
                  </a:ext>
                </a:extLst>
              </a:tr>
              <a:tr h="256032">
                <a:tc>
                  <a:txBody>
                    <a:bodyPr/>
                    <a:lstStyle/>
                    <a:p>
                      <a:pPr marL="0" marR="0" algn="ctr">
                        <a:spcBef>
                          <a:spcPts val="0"/>
                        </a:spcBef>
                        <a:spcAft>
                          <a:spcPts val="0"/>
                        </a:spcAft>
                      </a:pPr>
                      <a:r>
                        <a:rPr lang="en-US" sz="1100">
                          <a:solidFill>
                            <a:srgbClr val="000000"/>
                          </a:solidFill>
                          <a:effectLst/>
                          <a:latin typeface="+mn-lt"/>
                          <a:ea typeface="Calibri"/>
                          <a:cs typeface="Times New Roman"/>
                        </a:rPr>
                        <a:t>$600K</a:t>
                      </a:r>
                      <a:endParaRPr lang="en-US" sz="1100">
                        <a:effectLst/>
                        <a:latin typeface="Calibri"/>
                        <a:ea typeface="Calibri"/>
                        <a:cs typeface="Times New Roman"/>
                      </a:endParaRPr>
                    </a:p>
                  </a:txBody>
                  <a:tcPr/>
                </a:tc>
                <a:tc>
                  <a:txBody>
                    <a:bodyPr/>
                    <a:lstStyle/>
                    <a:p>
                      <a:pPr marL="0" marR="0" algn="ctr">
                        <a:spcBef>
                          <a:spcPts val="0"/>
                        </a:spcBef>
                        <a:spcAft>
                          <a:spcPts val="0"/>
                        </a:spcAft>
                      </a:pPr>
                      <a:r>
                        <a:rPr lang="en-US" sz="1100">
                          <a:solidFill>
                            <a:srgbClr val="000000"/>
                          </a:solidFill>
                          <a:effectLst/>
                          <a:latin typeface="Arial"/>
                          <a:ea typeface="Calibri"/>
                          <a:cs typeface="Times New Roman"/>
                        </a:rPr>
                        <a:t>$</a:t>
                      </a:r>
                      <a:endParaRPr lang="en-US" sz="1100">
                        <a:effectLst/>
                        <a:latin typeface="Calibri"/>
                        <a:ea typeface="Calibri"/>
                        <a:cs typeface="Times New Roman"/>
                      </a:endParaRPr>
                    </a:p>
                  </a:txBody>
                  <a:tcPr/>
                </a:tc>
                <a:tc>
                  <a:txBody>
                    <a:bodyPr/>
                    <a:lstStyle/>
                    <a:p>
                      <a:pPr marL="0" marR="0" algn="ctr">
                        <a:spcBef>
                          <a:spcPts val="0"/>
                        </a:spcBef>
                        <a:spcAft>
                          <a:spcPts val="0"/>
                        </a:spcAft>
                      </a:pPr>
                      <a:r>
                        <a:rPr lang="en-US" sz="1100" b="1">
                          <a:solidFill>
                            <a:srgbClr val="000000"/>
                          </a:solidFill>
                          <a:effectLst/>
                          <a:latin typeface="Arial"/>
                          <a:ea typeface="Calibri"/>
                          <a:cs typeface="Times New Roman"/>
                        </a:rPr>
                        <a:t>$600K</a:t>
                      </a:r>
                      <a:endParaRPr lang="en-US" sz="1100">
                        <a:effectLst/>
                        <a:latin typeface="Calibri"/>
                        <a:ea typeface="Calibri"/>
                        <a:cs typeface="Times New Roman"/>
                      </a:endParaRPr>
                    </a:p>
                  </a:txBody>
                  <a:tcPr/>
                </a:tc>
                <a:extLst>
                  <a:ext uri="{0D108BD9-81ED-4DB2-BD59-A6C34878D82A}">
                    <a16:rowId xmlns:a16="http://schemas.microsoft.com/office/drawing/2014/main" val="10002"/>
                  </a:ext>
                </a:extLst>
              </a:tr>
            </a:tbl>
          </a:graphicData>
        </a:graphic>
      </p:graphicFrame>
      <p:graphicFrame>
        <p:nvGraphicFramePr>
          <p:cNvPr id="7" name="Table 6">
            <a:extLst>
              <a:ext uri="{FF2B5EF4-FFF2-40B4-BE49-F238E27FC236}">
                <a16:creationId xmlns:a16="http://schemas.microsoft.com/office/drawing/2014/main" id="{AFE79D89-5247-4F9F-AD46-7E65A0D905E2}"/>
              </a:ext>
            </a:extLst>
          </p:cNvPr>
          <p:cNvGraphicFramePr>
            <a:graphicFrameLocks noGrp="1"/>
          </p:cNvGraphicFramePr>
          <p:nvPr>
            <p:extLst>
              <p:ext uri="{D42A27DB-BD31-4B8C-83A1-F6EECF244321}">
                <p14:modId xmlns:p14="http://schemas.microsoft.com/office/powerpoint/2010/main" val="857637052"/>
              </p:ext>
            </p:extLst>
          </p:nvPr>
        </p:nvGraphicFramePr>
        <p:xfrm>
          <a:off x="70906" y="5105400"/>
          <a:ext cx="8995896" cy="533400"/>
        </p:xfrm>
        <a:graphic>
          <a:graphicData uri="http://schemas.openxmlformats.org/drawingml/2006/table">
            <a:tbl>
              <a:tblPr firstRow="1" bandRow="1">
                <a:tableStyleId>{5C22544A-7EE6-4342-B048-85BDC9FD1C3A}</a:tableStyleId>
              </a:tblPr>
              <a:tblGrid>
                <a:gridCol w="2248974">
                  <a:extLst>
                    <a:ext uri="{9D8B030D-6E8A-4147-A177-3AD203B41FA5}">
                      <a16:colId xmlns:a16="http://schemas.microsoft.com/office/drawing/2014/main" val="20000"/>
                    </a:ext>
                  </a:extLst>
                </a:gridCol>
                <a:gridCol w="2248974">
                  <a:extLst>
                    <a:ext uri="{9D8B030D-6E8A-4147-A177-3AD203B41FA5}">
                      <a16:colId xmlns:a16="http://schemas.microsoft.com/office/drawing/2014/main" val="20001"/>
                    </a:ext>
                  </a:extLst>
                </a:gridCol>
                <a:gridCol w="2248974">
                  <a:extLst>
                    <a:ext uri="{9D8B030D-6E8A-4147-A177-3AD203B41FA5}">
                      <a16:colId xmlns:a16="http://schemas.microsoft.com/office/drawing/2014/main" val="20002"/>
                    </a:ext>
                  </a:extLst>
                </a:gridCol>
                <a:gridCol w="2248974">
                  <a:extLst>
                    <a:ext uri="{9D8B030D-6E8A-4147-A177-3AD203B41FA5}">
                      <a16:colId xmlns:a16="http://schemas.microsoft.com/office/drawing/2014/main" val="20003"/>
                    </a:ext>
                  </a:extLst>
                </a:gridCol>
              </a:tblGrid>
              <a:tr h="258645">
                <a:tc gridSpan="4">
                  <a:txBody>
                    <a:bodyPr/>
                    <a:lstStyle/>
                    <a:p>
                      <a:pPr algn="ctr"/>
                      <a:r>
                        <a:rPr lang="en-US" sz="1200" b="1" i="0" kern="1200" baseline="0">
                          <a:solidFill>
                            <a:schemeClr val="lt1"/>
                          </a:solidFill>
                          <a:latin typeface="+mn-lt"/>
                          <a:ea typeface="+mn-ea"/>
                          <a:cs typeface="+mn-cs"/>
                        </a:rPr>
                        <a:t>Key Stakeholder Groups</a:t>
                      </a:r>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44275">
                <a:tc>
                  <a:txBody>
                    <a:bodyPr/>
                    <a:lstStyle/>
                    <a:p>
                      <a:pPr algn="ctr"/>
                      <a:r>
                        <a:rPr lang="en-US" sz="1000" b="0" kern="1200" baseline="0">
                          <a:solidFill>
                            <a:schemeClr val="tx1"/>
                          </a:solidFill>
                          <a:latin typeface="+mn-lt"/>
                          <a:ea typeface="+mn-ea"/>
                          <a:cs typeface="+mn-cs"/>
                        </a:rPr>
                        <a:t>Distribution Engineering</a:t>
                      </a:r>
                    </a:p>
                  </a:txBody>
                  <a:tcPr/>
                </a:tc>
                <a:tc>
                  <a:txBody>
                    <a:bodyPr/>
                    <a:lstStyle/>
                    <a:p>
                      <a:pPr algn="ctr"/>
                      <a:r>
                        <a:rPr lang="en-US" sz="1000" b="0" kern="1200" baseline="0">
                          <a:solidFill>
                            <a:schemeClr val="tx1"/>
                          </a:solidFill>
                          <a:latin typeface="+mn-lt"/>
                          <a:ea typeface="+mn-ea"/>
                          <a:cs typeface="+mn-cs"/>
                        </a:rPr>
                        <a:t>Distribution Apparatus Engineering</a:t>
                      </a:r>
                    </a:p>
                  </a:txBody>
                  <a:tcPr/>
                </a:tc>
                <a:tc>
                  <a:txBody>
                    <a:bodyPr/>
                    <a:lstStyle/>
                    <a:p>
                      <a:pPr algn="ctr"/>
                      <a:r>
                        <a:rPr lang="en-US" sz="1000" b="0" kern="1200" baseline="0">
                          <a:solidFill>
                            <a:schemeClr val="tx1"/>
                          </a:solidFill>
                          <a:latin typeface="+mn-lt"/>
                          <a:ea typeface="+mn-ea"/>
                          <a:cs typeface="+mn-cs"/>
                        </a:rPr>
                        <a:t>IT Cybersecurity &amp; Compliance</a:t>
                      </a:r>
                    </a:p>
                  </a:txBody>
                  <a:tcPr/>
                </a:tc>
                <a:tc>
                  <a:txBody>
                    <a:bodyPr/>
                    <a:lstStyle/>
                    <a:p>
                      <a:pPr algn="ctr"/>
                      <a:r>
                        <a:rPr lang="en-US" sz="1100" b="0" kern="1200" baseline="0">
                          <a:solidFill>
                            <a:schemeClr val="tx1"/>
                          </a:solidFill>
                          <a:latin typeface="+mn-lt"/>
                          <a:ea typeface="+mn-ea"/>
                          <a:cs typeface="+mn-cs"/>
                        </a:rPr>
                        <a:t>Asset &amp; Engineering Strategy</a:t>
                      </a:r>
                      <a:endParaRPr lang="en-US" sz="1100" b="0" i="0" kern="1200" baseline="0">
                        <a:solidFill>
                          <a:schemeClr val="tx1"/>
                        </a:solidFill>
                        <a:latin typeface="+mn-lt"/>
                        <a:ea typeface="+mn-ea"/>
                        <a:cs typeface="+mn-cs"/>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649455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PG&amp;E Template">
  <a:themeElements>
    <a:clrScheme name="PRTM for PGE">
      <a:dk1>
        <a:sysClr val="windowText" lastClr="000000"/>
      </a:dk1>
      <a:lt1>
        <a:sysClr val="window" lastClr="FFFFFF"/>
      </a:lt1>
      <a:dk2>
        <a:srgbClr val="1F497D"/>
      </a:dk2>
      <a:lt2>
        <a:srgbClr val="EEECE1"/>
      </a:lt2>
      <a:accent1>
        <a:srgbClr val="006699"/>
      </a:accent1>
      <a:accent2>
        <a:srgbClr val="FF9900"/>
      </a:accent2>
      <a:accent3>
        <a:srgbClr val="339966"/>
      </a:accent3>
      <a:accent4>
        <a:srgbClr val="CC0000"/>
      </a:accent4>
      <a:accent5>
        <a:srgbClr val="4BACC6"/>
      </a:accent5>
      <a:accent6>
        <a:srgbClr val="E75C00"/>
      </a:accent6>
      <a:hlink>
        <a:srgbClr val="003366"/>
      </a:hlink>
      <a:folHlink>
        <a:srgbClr val="9900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lnDef>
  </a:objectDefaults>
  <a:extraClrSchemeLst>
    <a:extraClrScheme>
      <a:clrScheme name="WW_RPT_template 1">
        <a:dk1>
          <a:srgbClr val="333333"/>
        </a:dk1>
        <a:lt1>
          <a:srgbClr val="FFFFFF"/>
        </a:lt1>
        <a:dk2>
          <a:srgbClr val="5B7893"/>
        </a:dk2>
        <a:lt2>
          <a:srgbClr val="CCCCCC"/>
        </a:lt2>
        <a:accent1>
          <a:srgbClr val="ADBBC9"/>
        </a:accent1>
        <a:accent2>
          <a:srgbClr val="CC6600"/>
        </a:accent2>
        <a:accent3>
          <a:srgbClr val="FFFFFF"/>
        </a:accent3>
        <a:accent4>
          <a:srgbClr val="2A2A2A"/>
        </a:accent4>
        <a:accent5>
          <a:srgbClr val="D3DAE1"/>
        </a:accent5>
        <a:accent6>
          <a:srgbClr val="B95C00"/>
        </a:accent6>
        <a:hlink>
          <a:srgbClr val="CC3300"/>
        </a:hlink>
        <a:folHlink>
          <a:srgbClr val="F1D1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7_PG&amp;E Template">
  <a:themeElements>
    <a:clrScheme name="PRTM for PGE">
      <a:dk1>
        <a:sysClr val="windowText" lastClr="000000"/>
      </a:dk1>
      <a:lt1>
        <a:sysClr val="window" lastClr="FFFFFF"/>
      </a:lt1>
      <a:dk2>
        <a:srgbClr val="1F497D"/>
      </a:dk2>
      <a:lt2>
        <a:srgbClr val="EEECE1"/>
      </a:lt2>
      <a:accent1>
        <a:srgbClr val="006699"/>
      </a:accent1>
      <a:accent2>
        <a:srgbClr val="FF9900"/>
      </a:accent2>
      <a:accent3>
        <a:srgbClr val="339966"/>
      </a:accent3>
      <a:accent4>
        <a:srgbClr val="CC0000"/>
      </a:accent4>
      <a:accent5>
        <a:srgbClr val="4BACC6"/>
      </a:accent5>
      <a:accent6>
        <a:srgbClr val="E75C00"/>
      </a:accent6>
      <a:hlink>
        <a:srgbClr val="003366"/>
      </a:hlink>
      <a:folHlink>
        <a:srgbClr val="9900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lnDef>
  </a:objectDefaults>
  <a:extraClrSchemeLst>
    <a:extraClrScheme>
      <a:clrScheme name="WW_RPT_template 1">
        <a:dk1>
          <a:srgbClr val="333333"/>
        </a:dk1>
        <a:lt1>
          <a:srgbClr val="FFFFFF"/>
        </a:lt1>
        <a:dk2>
          <a:srgbClr val="5B7893"/>
        </a:dk2>
        <a:lt2>
          <a:srgbClr val="CCCCCC"/>
        </a:lt2>
        <a:accent1>
          <a:srgbClr val="ADBBC9"/>
        </a:accent1>
        <a:accent2>
          <a:srgbClr val="CC6600"/>
        </a:accent2>
        <a:accent3>
          <a:srgbClr val="FFFFFF"/>
        </a:accent3>
        <a:accent4>
          <a:srgbClr val="2A2A2A"/>
        </a:accent4>
        <a:accent5>
          <a:srgbClr val="D3DAE1"/>
        </a:accent5>
        <a:accent6>
          <a:srgbClr val="B95C00"/>
        </a:accent6>
        <a:hlink>
          <a:srgbClr val="CC3300"/>
        </a:hlink>
        <a:folHlink>
          <a:srgbClr val="F1D1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2_PG&amp;E Template">
  <a:themeElements>
    <a:clrScheme name="PRTM for PGE">
      <a:dk1>
        <a:sysClr val="windowText" lastClr="000000"/>
      </a:dk1>
      <a:lt1>
        <a:sysClr val="window" lastClr="FFFFFF"/>
      </a:lt1>
      <a:dk2>
        <a:srgbClr val="1F497D"/>
      </a:dk2>
      <a:lt2>
        <a:srgbClr val="EEECE1"/>
      </a:lt2>
      <a:accent1>
        <a:srgbClr val="006699"/>
      </a:accent1>
      <a:accent2>
        <a:srgbClr val="FF9900"/>
      </a:accent2>
      <a:accent3>
        <a:srgbClr val="339966"/>
      </a:accent3>
      <a:accent4>
        <a:srgbClr val="CC0000"/>
      </a:accent4>
      <a:accent5>
        <a:srgbClr val="4BACC6"/>
      </a:accent5>
      <a:accent6>
        <a:srgbClr val="E75C00"/>
      </a:accent6>
      <a:hlink>
        <a:srgbClr val="003366"/>
      </a:hlink>
      <a:folHlink>
        <a:srgbClr val="9900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lnDef>
  </a:objectDefaults>
  <a:extraClrSchemeLst>
    <a:extraClrScheme>
      <a:clrScheme name="WW_RPT_template 1">
        <a:dk1>
          <a:srgbClr val="333333"/>
        </a:dk1>
        <a:lt1>
          <a:srgbClr val="FFFFFF"/>
        </a:lt1>
        <a:dk2>
          <a:srgbClr val="5B7893"/>
        </a:dk2>
        <a:lt2>
          <a:srgbClr val="CCCCCC"/>
        </a:lt2>
        <a:accent1>
          <a:srgbClr val="ADBBC9"/>
        </a:accent1>
        <a:accent2>
          <a:srgbClr val="CC6600"/>
        </a:accent2>
        <a:accent3>
          <a:srgbClr val="FFFFFF"/>
        </a:accent3>
        <a:accent4>
          <a:srgbClr val="2A2A2A"/>
        </a:accent4>
        <a:accent5>
          <a:srgbClr val="D3DAE1"/>
        </a:accent5>
        <a:accent6>
          <a:srgbClr val="B95C00"/>
        </a:accent6>
        <a:hlink>
          <a:srgbClr val="CC3300"/>
        </a:hlink>
        <a:folHlink>
          <a:srgbClr val="F1D1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1_PG&amp;E Template">
  <a:themeElements>
    <a:clrScheme name="PRTM for PGE">
      <a:dk1>
        <a:sysClr val="windowText" lastClr="000000"/>
      </a:dk1>
      <a:lt1>
        <a:sysClr val="window" lastClr="FFFFFF"/>
      </a:lt1>
      <a:dk2>
        <a:srgbClr val="1F497D"/>
      </a:dk2>
      <a:lt2>
        <a:srgbClr val="EEECE1"/>
      </a:lt2>
      <a:accent1>
        <a:srgbClr val="006699"/>
      </a:accent1>
      <a:accent2>
        <a:srgbClr val="FF9900"/>
      </a:accent2>
      <a:accent3>
        <a:srgbClr val="339966"/>
      </a:accent3>
      <a:accent4>
        <a:srgbClr val="CC0000"/>
      </a:accent4>
      <a:accent5>
        <a:srgbClr val="4BACC6"/>
      </a:accent5>
      <a:accent6>
        <a:srgbClr val="E75C00"/>
      </a:accent6>
      <a:hlink>
        <a:srgbClr val="003366"/>
      </a:hlink>
      <a:folHlink>
        <a:srgbClr val="9900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lnDef>
  </a:objectDefaults>
  <a:extraClrSchemeLst>
    <a:extraClrScheme>
      <a:clrScheme name="WW_RPT_template 1">
        <a:dk1>
          <a:srgbClr val="333333"/>
        </a:dk1>
        <a:lt1>
          <a:srgbClr val="FFFFFF"/>
        </a:lt1>
        <a:dk2>
          <a:srgbClr val="5B7893"/>
        </a:dk2>
        <a:lt2>
          <a:srgbClr val="CCCCCC"/>
        </a:lt2>
        <a:accent1>
          <a:srgbClr val="ADBBC9"/>
        </a:accent1>
        <a:accent2>
          <a:srgbClr val="CC6600"/>
        </a:accent2>
        <a:accent3>
          <a:srgbClr val="FFFFFF"/>
        </a:accent3>
        <a:accent4>
          <a:srgbClr val="2A2A2A"/>
        </a:accent4>
        <a:accent5>
          <a:srgbClr val="D3DAE1"/>
        </a:accent5>
        <a:accent6>
          <a:srgbClr val="B95C00"/>
        </a:accent6>
        <a:hlink>
          <a:srgbClr val="CC3300"/>
        </a:hlink>
        <a:folHlink>
          <a:srgbClr val="F1D1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3_PG&amp;E Template">
  <a:themeElements>
    <a:clrScheme name="PRTM for PGE">
      <a:dk1>
        <a:sysClr val="windowText" lastClr="000000"/>
      </a:dk1>
      <a:lt1>
        <a:sysClr val="window" lastClr="FFFFFF"/>
      </a:lt1>
      <a:dk2>
        <a:srgbClr val="1F497D"/>
      </a:dk2>
      <a:lt2>
        <a:srgbClr val="EEECE1"/>
      </a:lt2>
      <a:accent1>
        <a:srgbClr val="006699"/>
      </a:accent1>
      <a:accent2>
        <a:srgbClr val="FF9900"/>
      </a:accent2>
      <a:accent3>
        <a:srgbClr val="339966"/>
      </a:accent3>
      <a:accent4>
        <a:srgbClr val="CC0000"/>
      </a:accent4>
      <a:accent5>
        <a:srgbClr val="4BACC6"/>
      </a:accent5>
      <a:accent6>
        <a:srgbClr val="E75C00"/>
      </a:accent6>
      <a:hlink>
        <a:srgbClr val="003366"/>
      </a:hlink>
      <a:folHlink>
        <a:srgbClr val="9900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lnDef>
  </a:objectDefaults>
  <a:extraClrSchemeLst>
    <a:extraClrScheme>
      <a:clrScheme name="WW_RPT_template 1">
        <a:dk1>
          <a:srgbClr val="333333"/>
        </a:dk1>
        <a:lt1>
          <a:srgbClr val="FFFFFF"/>
        </a:lt1>
        <a:dk2>
          <a:srgbClr val="5B7893"/>
        </a:dk2>
        <a:lt2>
          <a:srgbClr val="CCCCCC"/>
        </a:lt2>
        <a:accent1>
          <a:srgbClr val="ADBBC9"/>
        </a:accent1>
        <a:accent2>
          <a:srgbClr val="CC6600"/>
        </a:accent2>
        <a:accent3>
          <a:srgbClr val="FFFFFF"/>
        </a:accent3>
        <a:accent4>
          <a:srgbClr val="2A2A2A"/>
        </a:accent4>
        <a:accent5>
          <a:srgbClr val="D3DAE1"/>
        </a:accent5>
        <a:accent6>
          <a:srgbClr val="B95C00"/>
        </a:accent6>
        <a:hlink>
          <a:srgbClr val="CC3300"/>
        </a:hlink>
        <a:folHlink>
          <a:srgbClr val="F1D1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PG&amp;E Template">
  <a:themeElements>
    <a:clrScheme name="PRTM for PGE">
      <a:dk1>
        <a:sysClr val="windowText" lastClr="000000"/>
      </a:dk1>
      <a:lt1>
        <a:sysClr val="window" lastClr="FFFFFF"/>
      </a:lt1>
      <a:dk2>
        <a:srgbClr val="1F497D"/>
      </a:dk2>
      <a:lt2>
        <a:srgbClr val="EEECE1"/>
      </a:lt2>
      <a:accent1>
        <a:srgbClr val="006699"/>
      </a:accent1>
      <a:accent2>
        <a:srgbClr val="FF9900"/>
      </a:accent2>
      <a:accent3>
        <a:srgbClr val="339966"/>
      </a:accent3>
      <a:accent4>
        <a:srgbClr val="CC0000"/>
      </a:accent4>
      <a:accent5>
        <a:srgbClr val="4BACC6"/>
      </a:accent5>
      <a:accent6>
        <a:srgbClr val="E75C00"/>
      </a:accent6>
      <a:hlink>
        <a:srgbClr val="003366"/>
      </a:hlink>
      <a:folHlink>
        <a:srgbClr val="9900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lnDef>
  </a:objectDefaults>
  <a:extraClrSchemeLst>
    <a:extraClrScheme>
      <a:clrScheme name="WW_RPT_template 1">
        <a:dk1>
          <a:srgbClr val="333333"/>
        </a:dk1>
        <a:lt1>
          <a:srgbClr val="FFFFFF"/>
        </a:lt1>
        <a:dk2>
          <a:srgbClr val="5B7893"/>
        </a:dk2>
        <a:lt2>
          <a:srgbClr val="CCCCCC"/>
        </a:lt2>
        <a:accent1>
          <a:srgbClr val="ADBBC9"/>
        </a:accent1>
        <a:accent2>
          <a:srgbClr val="CC6600"/>
        </a:accent2>
        <a:accent3>
          <a:srgbClr val="FFFFFF"/>
        </a:accent3>
        <a:accent4>
          <a:srgbClr val="2A2A2A"/>
        </a:accent4>
        <a:accent5>
          <a:srgbClr val="D3DAE1"/>
        </a:accent5>
        <a:accent6>
          <a:srgbClr val="B95C00"/>
        </a:accent6>
        <a:hlink>
          <a:srgbClr val="CC3300"/>
        </a:hlink>
        <a:folHlink>
          <a:srgbClr val="F1D1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PG&amp;E Template">
  <a:themeElements>
    <a:clrScheme name="PRTM for PGE">
      <a:dk1>
        <a:sysClr val="windowText" lastClr="000000"/>
      </a:dk1>
      <a:lt1>
        <a:sysClr val="window" lastClr="FFFFFF"/>
      </a:lt1>
      <a:dk2>
        <a:srgbClr val="1F497D"/>
      </a:dk2>
      <a:lt2>
        <a:srgbClr val="EEECE1"/>
      </a:lt2>
      <a:accent1>
        <a:srgbClr val="006699"/>
      </a:accent1>
      <a:accent2>
        <a:srgbClr val="FF9900"/>
      </a:accent2>
      <a:accent3>
        <a:srgbClr val="339966"/>
      </a:accent3>
      <a:accent4>
        <a:srgbClr val="CC0000"/>
      </a:accent4>
      <a:accent5>
        <a:srgbClr val="4BACC6"/>
      </a:accent5>
      <a:accent6>
        <a:srgbClr val="E75C00"/>
      </a:accent6>
      <a:hlink>
        <a:srgbClr val="003366"/>
      </a:hlink>
      <a:folHlink>
        <a:srgbClr val="9900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lnDef>
  </a:objectDefaults>
  <a:extraClrSchemeLst>
    <a:extraClrScheme>
      <a:clrScheme name="WW_RPT_template 1">
        <a:dk1>
          <a:srgbClr val="333333"/>
        </a:dk1>
        <a:lt1>
          <a:srgbClr val="FFFFFF"/>
        </a:lt1>
        <a:dk2>
          <a:srgbClr val="5B7893"/>
        </a:dk2>
        <a:lt2>
          <a:srgbClr val="CCCCCC"/>
        </a:lt2>
        <a:accent1>
          <a:srgbClr val="ADBBC9"/>
        </a:accent1>
        <a:accent2>
          <a:srgbClr val="CC6600"/>
        </a:accent2>
        <a:accent3>
          <a:srgbClr val="FFFFFF"/>
        </a:accent3>
        <a:accent4>
          <a:srgbClr val="2A2A2A"/>
        </a:accent4>
        <a:accent5>
          <a:srgbClr val="D3DAE1"/>
        </a:accent5>
        <a:accent6>
          <a:srgbClr val="B95C00"/>
        </a:accent6>
        <a:hlink>
          <a:srgbClr val="CC3300"/>
        </a:hlink>
        <a:folHlink>
          <a:srgbClr val="F1D1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PGE_PPT_BasicTempArial_042709">
  <a:themeElements>
    <a:clrScheme name="PGE_PPT_BasicTempArial_042709 4">
      <a:dk1>
        <a:srgbClr val="0082AA"/>
      </a:dk1>
      <a:lt1>
        <a:srgbClr val="FFFFFF"/>
      </a:lt1>
      <a:dk2>
        <a:srgbClr val="FFA100"/>
      </a:dk2>
      <a:lt2>
        <a:srgbClr val="00A7C2"/>
      </a:lt2>
      <a:accent1>
        <a:srgbClr val="0082AA"/>
      </a:accent1>
      <a:accent2>
        <a:srgbClr val="70A489"/>
      </a:accent2>
      <a:accent3>
        <a:srgbClr val="FFFFFF"/>
      </a:accent3>
      <a:accent4>
        <a:srgbClr val="006E91"/>
      </a:accent4>
      <a:accent5>
        <a:srgbClr val="AAC1D2"/>
      </a:accent5>
      <a:accent6>
        <a:srgbClr val="65947C"/>
      </a:accent6>
      <a:hlink>
        <a:srgbClr val="A3A86B"/>
      </a:hlink>
      <a:folHlink>
        <a:srgbClr val="CAB57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A5D9"/>
        </a:dk1>
        <a:lt1>
          <a:srgbClr val="FFFFFF"/>
        </a:lt1>
        <a:dk2>
          <a:srgbClr val="00A5D9"/>
        </a:dk2>
        <a:lt2>
          <a:srgbClr val="808080"/>
        </a:lt2>
        <a:accent1>
          <a:srgbClr val="00A5D9"/>
        </a:accent1>
        <a:accent2>
          <a:srgbClr val="FCB131"/>
        </a:accent2>
        <a:accent3>
          <a:srgbClr val="FFFFFF"/>
        </a:accent3>
        <a:accent4>
          <a:srgbClr val="008CB9"/>
        </a:accent4>
        <a:accent5>
          <a:srgbClr val="AACFE9"/>
        </a:accent5>
        <a:accent6>
          <a:srgbClr val="E4A02B"/>
        </a:accent6>
        <a:hlink>
          <a:srgbClr val="000000"/>
        </a:hlink>
        <a:folHlink>
          <a:srgbClr val="99CCFF"/>
        </a:folHlink>
      </a:clrScheme>
      <a:clrMap bg1="lt1" tx1="dk1" bg2="lt2" tx2="dk2" accent1="accent1" accent2="accent2" accent3="accent3" accent4="accent4" accent5="accent5" accent6="accent6" hlink="hlink" folHlink="folHlink"/>
    </a:extraClrScheme>
    <a:extraClrScheme>
      <a:clrScheme name="Default Design 1">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000000"/>
        </a:hlink>
        <a:folHlink>
          <a:srgbClr val="00CAE8"/>
        </a:folHlink>
      </a:clrScheme>
      <a:clrMap bg1="lt1" tx1="dk1" bg2="lt2" tx2="dk2" accent1="accent1" accent2="accent2" accent3="accent3" accent4="accent4" accent5="accent5" accent6="accent6" hlink="hlink" folHlink="folHlink"/>
    </a:extraClrScheme>
    <a:extraClrScheme>
      <a:clrScheme name="PGE_PPT_BasicTempArial_042709 1">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FFC766"/>
        </a:hlink>
        <a:folHlink>
          <a:srgbClr val="45C8F5"/>
        </a:folHlink>
      </a:clrScheme>
      <a:clrMap bg1="lt1" tx1="dk1" bg2="lt2" tx2="dk2" accent1="accent1" accent2="accent2" accent3="accent3" accent4="accent4" accent5="accent5" accent6="accent6" hlink="hlink" folHlink="folHlink"/>
    </a:extraClrScheme>
    <a:extraClrScheme>
      <a:clrScheme name="PGE_PPT_BasicTempArial_042709 2">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70A489"/>
        </a:hlink>
        <a:folHlink>
          <a:srgbClr val="CAB575"/>
        </a:folHlink>
      </a:clrScheme>
      <a:clrMap bg1="lt1" tx1="dk1" bg2="lt2" tx2="dk2" accent1="accent1" accent2="accent2" accent3="accent3" accent4="accent4" accent5="accent5" accent6="accent6" hlink="hlink" folHlink="folHlink"/>
    </a:extraClrScheme>
    <a:extraClrScheme>
      <a:clrScheme name="PGE_PPT_BasicTempArial_042709 3">
        <a:dk1>
          <a:srgbClr val="0082AA"/>
        </a:dk1>
        <a:lt1>
          <a:srgbClr val="FFFFFF"/>
        </a:lt1>
        <a:dk2>
          <a:srgbClr val="FFA100"/>
        </a:dk2>
        <a:lt2>
          <a:srgbClr val="00A7C2"/>
        </a:lt2>
        <a:accent1>
          <a:srgbClr val="0082AA"/>
        </a:accent1>
        <a:accent2>
          <a:srgbClr val="FFA100"/>
        </a:accent2>
        <a:accent3>
          <a:srgbClr val="FFFFFF"/>
        </a:accent3>
        <a:accent4>
          <a:srgbClr val="006E91"/>
        </a:accent4>
        <a:accent5>
          <a:srgbClr val="AAC1D2"/>
        </a:accent5>
        <a:accent6>
          <a:srgbClr val="E79100"/>
        </a:accent6>
        <a:hlink>
          <a:srgbClr val="70A489"/>
        </a:hlink>
        <a:folHlink>
          <a:srgbClr val="CAB575"/>
        </a:folHlink>
      </a:clrScheme>
      <a:clrMap bg1="lt1" tx1="dk1" bg2="lt2" tx2="dk2" accent1="accent1" accent2="accent2" accent3="accent3" accent4="accent4" accent5="accent5" accent6="accent6" hlink="hlink" folHlink="folHlink"/>
    </a:extraClrScheme>
    <a:extraClrScheme>
      <a:clrScheme name="PGE_PPT_BasicTempArial_042709 4">
        <a:dk1>
          <a:srgbClr val="0082AA"/>
        </a:dk1>
        <a:lt1>
          <a:srgbClr val="FFFFFF"/>
        </a:lt1>
        <a:dk2>
          <a:srgbClr val="FFA100"/>
        </a:dk2>
        <a:lt2>
          <a:srgbClr val="00A7C2"/>
        </a:lt2>
        <a:accent1>
          <a:srgbClr val="0082AA"/>
        </a:accent1>
        <a:accent2>
          <a:srgbClr val="70A489"/>
        </a:accent2>
        <a:accent3>
          <a:srgbClr val="FFFFFF"/>
        </a:accent3>
        <a:accent4>
          <a:srgbClr val="006E91"/>
        </a:accent4>
        <a:accent5>
          <a:srgbClr val="AAC1D2"/>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4_PG&amp;E Template">
  <a:themeElements>
    <a:clrScheme name="PRTM for PGE">
      <a:dk1>
        <a:sysClr val="windowText" lastClr="000000"/>
      </a:dk1>
      <a:lt1>
        <a:sysClr val="window" lastClr="FFFFFF"/>
      </a:lt1>
      <a:dk2>
        <a:srgbClr val="1F497D"/>
      </a:dk2>
      <a:lt2>
        <a:srgbClr val="EEECE1"/>
      </a:lt2>
      <a:accent1>
        <a:srgbClr val="006699"/>
      </a:accent1>
      <a:accent2>
        <a:srgbClr val="FF9900"/>
      </a:accent2>
      <a:accent3>
        <a:srgbClr val="339966"/>
      </a:accent3>
      <a:accent4>
        <a:srgbClr val="CC0000"/>
      </a:accent4>
      <a:accent5>
        <a:srgbClr val="4BACC6"/>
      </a:accent5>
      <a:accent6>
        <a:srgbClr val="E75C00"/>
      </a:accent6>
      <a:hlink>
        <a:srgbClr val="003366"/>
      </a:hlink>
      <a:folHlink>
        <a:srgbClr val="9900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lnDef>
  </a:objectDefaults>
  <a:extraClrSchemeLst>
    <a:extraClrScheme>
      <a:clrScheme name="WW_RPT_template 1">
        <a:dk1>
          <a:srgbClr val="333333"/>
        </a:dk1>
        <a:lt1>
          <a:srgbClr val="FFFFFF"/>
        </a:lt1>
        <a:dk2>
          <a:srgbClr val="5B7893"/>
        </a:dk2>
        <a:lt2>
          <a:srgbClr val="CCCCCC"/>
        </a:lt2>
        <a:accent1>
          <a:srgbClr val="ADBBC9"/>
        </a:accent1>
        <a:accent2>
          <a:srgbClr val="CC6600"/>
        </a:accent2>
        <a:accent3>
          <a:srgbClr val="FFFFFF"/>
        </a:accent3>
        <a:accent4>
          <a:srgbClr val="2A2A2A"/>
        </a:accent4>
        <a:accent5>
          <a:srgbClr val="D3DAE1"/>
        </a:accent5>
        <a:accent6>
          <a:srgbClr val="B95C00"/>
        </a:accent6>
        <a:hlink>
          <a:srgbClr val="CC3300"/>
        </a:hlink>
        <a:folHlink>
          <a:srgbClr val="F1D1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AE119DEDEC7A54F9A67B44F7D8F05CB" ma:contentTypeVersion="13" ma:contentTypeDescription="Create a new document." ma:contentTypeScope="" ma:versionID="b0f60c82434f1e10f0f993e69857a0bb">
  <xsd:schema xmlns:xsd="http://www.w3.org/2001/XMLSchema" xmlns:xs="http://www.w3.org/2001/XMLSchema" xmlns:p="http://schemas.microsoft.com/office/2006/metadata/properties" xmlns:ns3="abea69cb-db3e-4e55-83d8-79d7761cc3c9" xmlns:ns4="823cd42e-a7cd-45f3-aa38-a349f749c822" targetNamespace="http://schemas.microsoft.com/office/2006/metadata/properties" ma:root="true" ma:fieldsID="c6865c195e15cc19a2cd29ed52a4cb9c" ns3:_="" ns4:_="">
    <xsd:import namespace="abea69cb-db3e-4e55-83d8-79d7761cc3c9"/>
    <xsd:import namespace="823cd42e-a7cd-45f3-aa38-a349f749c822"/>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ea69cb-db3e-4e55-83d8-79d7761cc3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23cd42e-a7cd-45f3-aa38-a349f749c82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506757-A018-4DE7-9DEC-3B2086F4B0BC}">
  <ds:schemaRefs>
    <ds:schemaRef ds:uri="http://schemas.microsoft.com/office/2006/documentManagement/types"/>
    <ds:schemaRef ds:uri="http://schemas.microsoft.com/office/infopath/2007/PartnerControls"/>
    <ds:schemaRef ds:uri="abea69cb-db3e-4e55-83d8-79d7761cc3c9"/>
    <ds:schemaRef ds:uri="http://purl.org/dc/elements/1.1/"/>
    <ds:schemaRef ds:uri="http://schemas.microsoft.com/office/2006/metadata/properties"/>
    <ds:schemaRef ds:uri="http://purl.org/dc/terms/"/>
    <ds:schemaRef ds:uri="823cd42e-a7cd-45f3-aa38-a349f749c822"/>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2E53F542-9BE5-488F-B127-4144B52FC686}">
  <ds:schemaRefs>
    <ds:schemaRef ds:uri="http://schemas.microsoft.com/sharepoint/v3/contenttype/forms"/>
  </ds:schemaRefs>
</ds:datastoreItem>
</file>

<file path=customXml/itemProps3.xml><?xml version="1.0" encoding="utf-8"?>
<ds:datastoreItem xmlns:ds="http://schemas.openxmlformats.org/officeDocument/2006/customXml" ds:itemID="{C06C5120-513D-4D07-AFAB-B59E29E7FF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bea69cb-db3e-4e55-83d8-79d7761cc3c9"/>
    <ds:schemaRef ds:uri="823cd42e-a7cd-45f3-aa38-a349f749c8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374</Words>
  <Application>Microsoft Office PowerPoint</Application>
  <PresentationFormat>On-screen Show (4:3)</PresentationFormat>
  <Paragraphs>31</Paragraphs>
  <Slides>1</Slides>
  <Notes>0</Notes>
  <HiddenSlides>0</HiddenSlides>
  <MMClips>0</MMClips>
  <ScaleCrop>false</ScaleCrop>
  <HeadingPairs>
    <vt:vector size="4" baseType="variant">
      <vt:variant>
        <vt:lpstr>Theme</vt:lpstr>
      </vt:variant>
      <vt:variant>
        <vt:i4>10</vt:i4>
      </vt:variant>
      <vt:variant>
        <vt:lpstr>Slide Titles</vt:lpstr>
      </vt:variant>
      <vt:variant>
        <vt:i4>1</vt:i4>
      </vt:variant>
    </vt:vector>
  </HeadingPairs>
  <TitlesOfParts>
    <vt:vector size="11" baseType="lpstr">
      <vt:lpstr>5_PG&amp;E Template</vt:lpstr>
      <vt:lpstr>12_PG&amp;E Template</vt:lpstr>
      <vt:lpstr>11_PG&amp;E Template</vt:lpstr>
      <vt:lpstr>13_PG&amp;E Template</vt:lpstr>
      <vt:lpstr>1_PG&amp;E Template</vt:lpstr>
      <vt:lpstr>6_PG&amp;E Template</vt:lpstr>
      <vt:lpstr>6_PGE_PPT_BasicTempArial_042709</vt:lpstr>
      <vt:lpstr>14_PG&amp;E Template</vt:lpstr>
      <vt:lpstr>Custom Design</vt:lpstr>
      <vt:lpstr>7_PG&amp;E Template</vt:lpstr>
      <vt:lpstr>PowerPoint Presentation</vt:lpstr>
    </vt:vector>
  </TitlesOfParts>
  <Company>Pacific Gas and Electr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e A Colvin</dc:creator>
  <cp:lastModifiedBy>Eliza B Gano</cp:lastModifiedBy>
  <cp:revision>2</cp:revision>
  <cp:lastPrinted>2017-11-27T19:08:16Z</cp:lastPrinted>
  <dcterms:created xsi:type="dcterms:W3CDTF">2016-03-11T00:37:44Z</dcterms:created>
  <dcterms:modified xsi:type="dcterms:W3CDTF">2021-02-26T18:2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E119DEDEC7A54F9A67B44F7D8F05CB</vt:lpwstr>
  </property>
  <property fmtid="{D5CDD505-2E9C-101B-9397-08002B2CF9AE}" pid="3" name="_dlc_DocIdItemGuid">
    <vt:lpwstr>337f1413-44bf-41cf-ad9e-3b669dfadfac</vt:lpwstr>
  </property>
</Properties>
</file>